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04" r:id="rId4"/>
  </p:sldMasterIdLst>
  <p:notesMasterIdLst>
    <p:notesMasterId r:id="rId14"/>
  </p:notesMasterIdLst>
  <p:handoutMasterIdLst>
    <p:handoutMasterId r:id="rId15"/>
  </p:handoutMasterIdLst>
  <p:sldIdLst>
    <p:sldId id="283" r:id="rId5"/>
    <p:sldId id="2529" r:id="rId6"/>
    <p:sldId id="2533" r:id="rId7"/>
    <p:sldId id="2530" r:id="rId8"/>
    <p:sldId id="2534" r:id="rId9"/>
    <p:sldId id="2535" r:id="rId10"/>
    <p:sldId id="2536" r:id="rId11"/>
    <p:sldId id="2537" r:id="rId12"/>
    <p:sldId id="2522" r:id="rId13"/>
  </p:sldIdLst>
  <p:sldSz cx="9144000" cy="5143500" type="screen16x9"/>
  <p:notesSz cx="6858000" cy="9144000"/>
  <p:custDataLst>
    <p:tags r:id="rId1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645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orient="horz" pos="2868" userDrawn="1">
          <p15:clr>
            <a:srgbClr val="A4A3A4"/>
          </p15:clr>
        </p15:guide>
        <p15:guide id="4" orient="horz" pos="3108" userDrawn="1">
          <p15:clr>
            <a:srgbClr val="A4A3A4"/>
          </p15:clr>
        </p15:guide>
        <p15:guide id="5" pos="5568" userDrawn="1">
          <p15:clr>
            <a:srgbClr val="A4A3A4"/>
          </p15:clr>
        </p15:guide>
        <p15:guide id="6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ris Mccormack" initials="CM" lastIdx="13" clrIdx="0">
    <p:extLst>
      <p:ext uri="{19B8F6BF-5375-455C-9EA6-DF929625EA0E}">
        <p15:presenceInfo xmlns:p15="http://schemas.microsoft.com/office/powerpoint/2012/main" userId="S::mccormack.chris@ch.sika.com::5cce2538-88f1-496b-a322-dec88ead757d" providerId="AD"/>
      </p:ext>
    </p:extLst>
  </p:cmAuthor>
  <p:cmAuthor id="2" name="Pascal Hodler" initials="PH" lastIdx="10" clrIdx="1">
    <p:extLst>
      <p:ext uri="{19B8F6BF-5375-455C-9EA6-DF929625EA0E}">
        <p15:presenceInfo xmlns:p15="http://schemas.microsoft.com/office/powerpoint/2012/main" userId="S::hodler.pascal@ch.sika.com::223ce648-bd98-49ab-b2b3-a1a85b66f65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CD1E9"/>
    <a:srgbClr val="6E95B2"/>
    <a:srgbClr val="7C7C7C"/>
    <a:srgbClr val="F2F2F2"/>
    <a:srgbClr val="F5B11F"/>
    <a:srgbClr val="4B4B4B"/>
    <a:srgbClr val="BFBFBF"/>
    <a:srgbClr val="50758D"/>
    <a:srgbClr val="F5B325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F9CD866-166D-4CBF-9B4A-37921AE04D82}" v="44" dt="2024-03-04T10:31:29.33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2623" autoAdjust="0"/>
    <p:restoredTop sz="94660"/>
  </p:normalViewPr>
  <p:slideViewPr>
    <p:cSldViewPr snapToGrid="0">
      <p:cViewPr varScale="1">
        <p:scale>
          <a:sx n="141" d="100"/>
          <a:sy n="141" d="100"/>
        </p:scale>
        <p:origin x="264" y="120"/>
      </p:cViewPr>
      <p:guideLst>
        <p:guide orient="horz" pos="645"/>
        <p:guide pos="192"/>
        <p:guide orient="horz" pos="2868"/>
        <p:guide orient="horz" pos="3108"/>
        <p:guide pos="5568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23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uricio Pena" userId="e8c94f7e-bc6e-4c95-ac94-d3ff72f76780" providerId="ADAL" clId="{B0B0C007-45D6-4959-BAA4-F8CFD9D4A287}"/>
    <pc:docChg chg="undo redo custSel addSld delSld modSld sldOrd modMainMaster">
      <pc:chgData name="Mauricio Pena" userId="e8c94f7e-bc6e-4c95-ac94-d3ff72f76780" providerId="ADAL" clId="{B0B0C007-45D6-4959-BAA4-F8CFD9D4A287}" dt="2023-04-14T10:40:16.656" v="1346" actId="478"/>
      <pc:docMkLst>
        <pc:docMk/>
      </pc:docMkLst>
      <pc:sldChg chg="addSp delSp mod">
        <pc:chgData name="Mauricio Pena" userId="e8c94f7e-bc6e-4c95-ac94-d3ff72f76780" providerId="ADAL" clId="{B0B0C007-45D6-4959-BAA4-F8CFD9D4A287}" dt="2023-03-27T07:00:34.550" v="2" actId="478"/>
        <pc:sldMkLst>
          <pc:docMk/>
          <pc:sldMk cId="0" sldId="283"/>
        </pc:sldMkLst>
        <pc:spChg chg="del">
          <ac:chgData name="Mauricio Pena" userId="e8c94f7e-bc6e-4c95-ac94-d3ff72f76780" providerId="ADAL" clId="{B0B0C007-45D6-4959-BAA4-F8CFD9D4A287}" dt="2023-03-27T07:00:31.110" v="0" actId="478"/>
          <ac:spMkLst>
            <pc:docMk/>
            <pc:sldMk cId="0" sldId="283"/>
            <ac:spMk id="9" creationId="{7D9D145E-B543-77B7-AACB-76D3B5B77392}"/>
          </ac:spMkLst>
        </pc:spChg>
        <pc:picChg chg="add del">
          <ac:chgData name="Mauricio Pena" userId="e8c94f7e-bc6e-4c95-ac94-d3ff72f76780" providerId="ADAL" clId="{B0B0C007-45D6-4959-BAA4-F8CFD9D4A287}" dt="2023-03-27T07:00:34.550" v="2" actId="478"/>
          <ac:picMkLst>
            <pc:docMk/>
            <pc:sldMk cId="0" sldId="283"/>
            <ac:picMk id="6" creationId="{A5CC6D39-1ECB-F645-1AFE-2F0C03041A97}"/>
          </ac:picMkLst>
        </pc:picChg>
      </pc:sldChg>
      <pc:sldChg chg="addSp delSp modSp mod">
        <pc:chgData name="Mauricio Pena" userId="e8c94f7e-bc6e-4c95-ac94-d3ff72f76780" providerId="ADAL" clId="{B0B0C007-45D6-4959-BAA4-F8CFD9D4A287}" dt="2023-04-14T10:26:00.506" v="1295" actId="108"/>
        <pc:sldMkLst>
          <pc:docMk/>
          <pc:sldMk cId="2681821491" sldId="2449"/>
        </pc:sldMkLst>
        <pc:spChg chg="add mod">
          <ac:chgData name="Mauricio Pena" userId="e8c94f7e-bc6e-4c95-ac94-d3ff72f76780" providerId="ADAL" clId="{B0B0C007-45D6-4959-BAA4-F8CFD9D4A287}" dt="2023-03-27T08:13:32.348" v="655" actId="1076"/>
          <ac:spMkLst>
            <pc:docMk/>
            <pc:sldMk cId="2681821491" sldId="2449"/>
            <ac:spMk id="2" creationId="{03533167-ABEF-E4A3-FBF3-5058418F8E03}"/>
          </ac:spMkLst>
        </pc:spChg>
        <pc:spChg chg="mod">
          <ac:chgData name="Mauricio Pena" userId="e8c94f7e-bc6e-4c95-ac94-d3ff72f76780" providerId="ADAL" clId="{B0B0C007-45D6-4959-BAA4-F8CFD9D4A287}" dt="2023-04-14T10:06:41.653" v="1266"/>
          <ac:spMkLst>
            <pc:docMk/>
            <pc:sldMk cId="2681821491" sldId="2449"/>
            <ac:spMk id="4" creationId="{B7DA9801-0835-4143-95FD-E14093FEC971}"/>
          </ac:spMkLst>
        </pc:spChg>
        <pc:spChg chg="add del">
          <ac:chgData name="Mauricio Pena" userId="e8c94f7e-bc6e-4c95-ac94-d3ff72f76780" providerId="ADAL" clId="{B0B0C007-45D6-4959-BAA4-F8CFD9D4A287}" dt="2023-03-27T08:12:24.533" v="648" actId="11529"/>
          <ac:spMkLst>
            <pc:docMk/>
            <pc:sldMk cId="2681821491" sldId="2449"/>
            <ac:spMk id="7" creationId="{8C5F13A0-2A60-EE56-C1EC-F5C7EE7CB9DE}"/>
          </ac:spMkLst>
        </pc:spChg>
        <pc:spChg chg="mod">
          <ac:chgData name="Mauricio Pena" userId="e8c94f7e-bc6e-4c95-ac94-d3ff72f76780" providerId="ADAL" clId="{B0B0C007-45D6-4959-BAA4-F8CFD9D4A287}" dt="2023-04-14T10:06:41.653" v="1266"/>
          <ac:spMkLst>
            <pc:docMk/>
            <pc:sldMk cId="2681821491" sldId="2449"/>
            <ac:spMk id="7" creationId="{EE168066-909E-89FE-A3A0-91FF1A3B66FC}"/>
          </ac:spMkLst>
        </pc:spChg>
        <pc:spChg chg="add del mod">
          <ac:chgData name="Mauricio Pena" userId="e8c94f7e-bc6e-4c95-ac94-d3ff72f76780" providerId="ADAL" clId="{B0B0C007-45D6-4959-BAA4-F8CFD9D4A287}" dt="2023-04-14T10:06:41.653" v="1266"/>
          <ac:spMkLst>
            <pc:docMk/>
            <pc:sldMk cId="2681821491" sldId="2449"/>
            <ac:spMk id="9" creationId="{45557366-5F4C-56C0-160B-0BAEC74915D1}"/>
          </ac:spMkLst>
        </pc:spChg>
        <pc:spChg chg="add del mod">
          <ac:chgData name="Mauricio Pena" userId="e8c94f7e-bc6e-4c95-ac94-d3ff72f76780" providerId="ADAL" clId="{B0B0C007-45D6-4959-BAA4-F8CFD9D4A287}" dt="2023-04-14T10:06:41.653" v="1266"/>
          <ac:spMkLst>
            <pc:docMk/>
            <pc:sldMk cId="2681821491" sldId="2449"/>
            <ac:spMk id="11" creationId="{DBB24995-CD2D-E53E-4BA1-B3F04F779E3F}"/>
          </ac:spMkLst>
        </pc:spChg>
        <pc:spChg chg="add del mod">
          <ac:chgData name="Mauricio Pena" userId="e8c94f7e-bc6e-4c95-ac94-d3ff72f76780" providerId="ADAL" clId="{B0B0C007-45D6-4959-BAA4-F8CFD9D4A287}" dt="2023-04-14T10:06:41.653" v="1266"/>
          <ac:spMkLst>
            <pc:docMk/>
            <pc:sldMk cId="2681821491" sldId="2449"/>
            <ac:spMk id="12" creationId="{86CCF9F4-418E-880B-CCFA-DC1D1DF82100}"/>
          </ac:spMkLst>
        </pc:spChg>
        <pc:spChg chg="mod">
          <ac:chgData name="Mauricio Pena" userId="e8c94f7e-bc6e-4c95-ac94-d3ff72f76780" providerId="ADAL" clId="{B0B0C007-45D6-4959-BAA4-F8CFD9D4A287}" dt="2023-04-14T10:26:00.506" v="1295" actId="108"/>
          <ac:spMkLst>
            <pc:docMk/>
            <pc:sldMk cId="2681821491" sldId="2449"/>
            <ac:spMk id="13" creationId="{77C03213-BC74-721D-B1FF-4A10B6C7EDBC}"/>
          </ac:spMkLst>
        </pc:spChg>
      </pc:sldChg>
      <pc:sldChg chg="modSp mod">
        <pc:chgData name="Mauricio Pena" userId="e8c94f7e-bc6e-4c95-ac94-d3ff72f76780" providerId="ADAL" clId="{B0B0C007-45D6-4959-BAA4-F8CFD9D4A287}" dt="2023-03-27T08:11:08.048" v="630" actId="255"/>
        <pc:sldMkLst>
          <pc:docMk/>
          <pc:sldMk cId="7716683" sldId="2522"/>
        </pc:sldMkLst>
        <pc:spChg chg="mod">
          <ac:chgData name="Mauricio Pena" userId="e8c94f7e-bc6e-4c95-ac94-d3ff72f76780" providerId="ADAL" clId="{B0B0C007-45D6-4959-BAA4-F8CFD9D4A287}" dt="2023-03-27T08:10:25.919" v="627" actId="403"/>
          <ac:spMkLst>
            <pc:docMk/>
            <pc:sldMk cId="7716683" sldId="2522"/>
            <ac:spMk id="3" creationId="{BCCE3648-8753-4528-81B2-38C8DA48DA6F}"/>
          </ac:spMkLst>
        </pc:spChg>
        <pc:spChg chg="mod">
          <ac:chgData name="Mauricio Pena" userId="e8c94f7e-bc6e-4c95-ac94-d3ff72f76780" providerId="ADAL" clId="{B0B0C007-45D6-4959-BAA4-F8CFD9D4A287}" dt="2023-03-27T08:11:08.048" v="630" actId="255"/>
          <ac:spMkLst>
            <pc:docMk/>
            <pc:sldMk cId="7716683" sldId="2522"/>
            <ac:spMk id="6" creationId="{12A55244-6BBD-3CC0-ACDF-47D4610B081F}"/>
          </ac:spMkLst>
        </pc:spChg>
      </pc:sldChg>
      <pc:sldChg chg="addSp delSp modSp mod">
        <pc:chgData name="Mauricio Pena" userId="e8c94f7e-bc6e-4c95-ac94-d3ff72f76780" providerId="ADAL" clId="{B0B0C007-45D6-4959-BAA4-F8CFD9D4A287}" dt="2023-04-14T10:25:48.096" v="1294" actId="14100"/>
        <pc:sldMkLst>
          <pc:docMk/>
          <pc:sldMk cId="1373680846" sldId="2524"/>
        </pc:sldMkLst>
        <pc:spChg chg="mod">
          <ac:chgData name="Mauricio Pena" userId="e8c94f7e-bc6e-4c95-ac94-d3ff72f76780" providerId="ADAL" clId="{B0B0C007-45D6-4959-BAA4-F8CFD9D4A287}" dt="2023-03-27T08:09:21.740" v="619"/>
          <ac:spMkLst>
            <pc:docMk/>
            <pc:sldMk cId="1373680846" sldId="2524"/>
            <ac:spMk id="4" creationId="{B7DA9801-0835-4143-95FD-E14093FEC971}"/>
          </ac:spMkLst>
        </pc:spChg>
        <pc:spChg chg="add del mod">
          <ac:chgData name="Mauricio Pena" userId="e8c94f7e-bc6e-4c95-ac94-d3ff72f76780" providerId="ADAL" clId="{B0B0C007-45D6-4959-BAA4-F8CFD9D4A287}" dt="2023-03-27T08:14:26.562" v="657" actId="478"/>
          <ac:spMkLst>
            <pc:docMk/>
            <pc:sldMk cId="1373680846" sldId="2524"/>
            <ac:spMk id="7" creationId="{1067DCAC-93E1-37E7-30AF-07D40E314877}"/>
          </ac:spMkLst>
        </pc:spChg>
        <pc:spChg chg="mod">
          <ac:chgData name="Mauricio Pena" userId="e8c94f7e-bc6e-4c95-ac94-d3ff72f76780" providerId="ADAL" clId="{B0B0C007-45D6-4959-BAA4-F8CFD9D4A287}" dt="2023-04-14T10:25:48.096" v="1294" actId="14100"/>
          <ac:spMkLst>
            <pc:docMk/>
            <pc:sldMk cId="1373680846" sldId="2524"/>
            <ac:spMk id="7" creationId="{C6A67DE8-CBD4-272E-7FE3-E9AD2A09278E}"/>
          </ac:spMkLst>
        </pc:spChg>
        <pc:spChg chg="add mod">
          <ac:chgData name="Mauricio Pena" userId="e8c94f7e-bc6e-4c95-ac94-d3ff72f76780" providerId="ADAL" clId="{B0B0C007-45D6-4959-BAA4-F8CFD9D4A287}" dt="2023-03-27T08:14:49.264" v="660" actId="1076"/>
          <ac:spMkLst>
            <pc:docMk/>
            <pc:sldMk cId="1373680846" sldId="2524"/>
            <ac:spMk id="11" creationId="{D686F126-6E22-B28A-B749-0BCC34F504E7}"/>
          </ac:spMkLst>
        </pc:spChg>
        <pc:spChg chg="mod">
          <ac:chgData name="Mauricio Pena" userId="e8c94f7e-bc6e-4c95-ac94-d3ff72f76780" providerId="ADAL" clId="{B0B0C007-45D6-4959-BAA4-F8CFD9D4A287}" dt="2023-03-27T07:43:06.669" v="507" actId="1076"/>
          <ac:spMkLst>
            <pc:docMk/>
            <pc:sldMk cId="1373680846" sldId="2524"/>
            <ac:spMk id="58" creationId="{C3A9EE8E-EBC8-40E8-A7C4-EB5621D3DABC}"/>
          </ac:spMkLst>
        </pc:spChg>
      </pc:sldChg>
      <pc:sldChg chg="addSp delSp modSp mod">
        <pc:chgData name="Mauricio Pena" userId="e8c94f7e-bc6e-4c95-ac94-d3ff72f76780" providerId="ADAL" clId="{B0B0C007-45D6-4959-BAA4-F8CFD9D4A287}" dt="2023-04-14T10:35:27.691" v="1319" actId="9405"/>
        <pc:sldMkLst>
          <pc:docMk/>
          <pc:sldMk cId="2770796793" sldId="2525"/>
        </pc:sldMkLst>
        <pc:spChg chg="mod">
          <ac:chgData name="Mauricio Pena" userId="e8c94f7e-bc6e-4c95-ac94-d3ff72f76780" providerId="ADAL" clId="{B0B0C007-45D6-4959-BAA4-F8CFD9D4A287}" dt="2023-03-27T08:09:35.609" v="622"/>
          <ac:spMkLst>
            <pc:docMk/>
            <pc:sldMk cId="2770796793" sldId="2525"/>
            <ac:spMk id="4" creationId="{B7DA9801-0835-4143-95FD-E14093FEC971}"/>
          </ac:spMkLst>
        </pc:spChg>
        <pc:spChg chg="mod">
          <ac:chgData name="Mauricio Pena" userId="e8c94f7e-bc6e-4c95-ac94-d3ff72f76780" providerId="ADAL" clId="{B0B0C007-45D6-4959-BAA4-F8CFD9D4A287}" dt="2023-03-27T08:09:30.711" v="621" actId="1076"/>
          <ac:spMkLst>
            <pc:docMk/>
            <pc:sldMk cId="2770796793" sldId="2525"/>
            <ac:spMk id="5" creationId="{444E32C3-FFC6-41E3-A361-663774D7500E}"/>
          </ac:spMkLst>
        </pc:spChg>
        <pc:spChg chg="add mod">
          <ac:chgData name="Mauricio Pena" userId="e8c94f7e-bc6e-4c95-ac94-d3ff72f76780" providerId="ADAL" clId="{B0B0C007-45D6-4959-BAA4-F8CFD9D4A287}" dt="2023-03-27T08:15:07.716" v="663" actId="1076"/>
          <ac:spMkLst>
            <pc:docMk/>
            <pc:sldMk cId="2770796793" sldId="2525"/>
            <ac:spMk id="7" creationId="{3812600F-9502-96F1-0F05-2B62445237DF}"/>
          </ac:spMkLst>
        </pc:spChg>
        <pc:spChg chg="mod">
          <ac:chgData name="Mauricio Pena" userId="e8c94f7e-bc6e-4c95-ac94-d3ff72f76780" providerId="ADAL" clId="{B0B0C007-45D6-4959-BAA4-F8CFD9D4A287}" dt="2023-04-14T10:26:48.019" v="1298" actId="14100"/>
          <ac:spMkLst>
            <pc:docMk/>
            <pc:sldMk cId="2770796793" sldId="2525"/>
            <ac:spMk id="9" creationId="{B163033E-E5DF-473F-6E93-398C07A5AAD4}"/>
          </ac:spMkLst>
        </pc:spChg>
        <pc:inkChg chg="add del">
          <ac:chgData name="Mauricio Pena" userId="e8c94f7e-bc6e-4c95-ac94-d3ff72f76780" providerId="ADAL" clId="{B0B0C007-45D6-4959-BAA4-F8CFD9D4A287}" dt="2023-04-14T10:35:09.517" v="1316" actId="9405"/>
          <ac:inkMkLst>
            <pc:docMk/>
            <pc:sldMk cId="2770796793" sldId="2525"/>
            <ac:inkMk id="11" creationId="{4A6AEF7A-E7D2-7DBF-C672-A1E6B7A2829D}"/>
          </ac:inkMkLst>
        </pc:inkChg>
        <pc:inkChg chg="add del">
          <ac:chgData name="Mauricio Pena" userId="e8c94f7e-bc6e-4c95-ac94-d3ff72f76780" providerId="ADAL" clId="{B0B0C007-45D6-4959-BAA4-F8CFD9D4A287}" dt="2023-04-14T10:35:27.691" v="1319" actId="9405"/>
          <ac:inkMkLst>
            <pc:docMk/>
            <pc:sldMk cId="2770796793" sldId="2525"/>
            <ac:inkMk id="12" creationId="{7A0296C7-F93E-1B29-7FA1-0F93FD3F1ECD}"/>
          </ac:inkMkLst>
        </pc:inkChg>
      </pc:sldChg>
      <pc:sldChg chg="addSp delSp modSp mod">
        <pc:chgData name="Mauricio Pena" userId="e8c94f7e-bc6e-4c95-ac94-d3ff72f76780" providerId="ADAL" clId="{B0B0C007-45D6-4959-BAA4-F8CFD9D4A287}" dt="2023-04-14T10:38:18.073" v="1334" actId="478"/>
        <pc:sldMkLst>
          <pc:docMk/>
          <pc:sldMk cId="2558631534" sldId="2526"/>
        </pc:sldMkLst>
        <pc:spChg chg="mod">
          <ac:chgData name="Mauricio Pena" userId="e8c94f7e-bc6e-4c95-ac94-d3ff72f76780" providerId="ADAL" clId="{B0B0C007-45D6-4959-BAA4-F8CFD9D4A287}" dt="2023-03-27T08:09:44.893" v="623"/>
          <ac:spMkLst>
            <pc:docMk/>
            <pc:sldMk cId="2558631534" sldId="2526"/>
            <ac:spMk id="4" creationId="{B7DA9801-0835-4143-95FD-E14093FEC971}"/>
          </ac:spMkLst>
        </pc:spChg>
        <pc:spChg chg="add mod">
          <ac:chgData name="Mauricio Pena" userId="e8c94f7e-bc6e-4c95-ac94-d3ff72f76780" providerId="ADAL" clId="{B0B0C007-45D6-4959-BAA4-F8CFD9D4A287}" dt="2023-03-27T08:15:34.255" v="666" actId="1076"/>
          <ac:spMkLst>
            <pc:docMk/>
            <pc:sldMk cId="2558631534" sldId="2526"/>
            <ac:spMk id="7" creationId="{D36F363F-ED86-D1FD-6AE5-27E7029AE948}"/>
          </ac:spMkLst>
        </pc:spChg>
        <pc:spChg chg="mod">
          <ac:chgData name="Mauricio Pena" userId="e8c94f7e-bc6e-4c95-ac94-d3ff72f76780" providerId="ADAL" clId="{B0B0C007-45D6-4959-BAA4-F8CFD9D4A287}" dt="2023-04-14T10:38:06.571" v="1332" actId="14100"/>
          <ac:spMkLst>
            <pc:docMk/>
            <pc:sldMk cId="2558631534" sldId="2526"/>
            <ac:spMk id="9" creationId="{28679B20-270D-B677-C952-3959B281F19B}"/>
          </ac:spMkLst>
        </pc:spChg>
        <pc:spChg chg="del mod">
          <ac:chgData name="Mauricio Pena" userId="e8c94f7e-bc6e-4c95-ac94-d3ff72f76780" providerId="ADAL" clId="{B0B0C007-45D6-4959-BAA4-F8CFD9D4A287}" dt="2023-04-14T10:29:23.679" v="1312" actId="478"/>
          <ac:spMkLst>
            <pc:docMk/>
            <pc:sldMk cId="2558631534" sldId="2526"/>
            <ac:spMk id="9" creationId="{98036236-7269-6E39-14B0-85D1BE0BDBA3}"/>
          </ac:spMkLst>
        </pc:spChg>
        <pc:spChg chg="add del mod">
          <ac:chgData name="Mauricio Pena" userId="e8c94f7e-bc6e-4c95-ac94-d3ff72f76780" providerId="ADAL" clId="{B0B0C007-45D6-4959-BAA4-F8CFD9D4A287}" dt="2023-04-14T10:35:52.153" v="1323" actId="478"/>
          <ac:spMkLst>
            <pc:docMk/>
            <pc:sldMk cId="2558631534" sldId="2526"/>
            <ac:spMk id="10" creationId="{3802DE6D-B8DF-8F4F-03EF-C08FEE04AF2F}"/>
          </ac:spMkLst>
        </pc:spChg>
        <pc:spChg chg="add del mod">
          <ac:chgData name="Mauricio Pena" userId="e8c94f7e-bc6e-4c95-ac94-d3ff72f76780" providerId="ADAL" clId="{B0B0C007-45D6-4959-BAA4-F8CFD9D4A287}" dt="2023-04-14T10:38:16.897" v="1333" actId="478"/>
          <ac:spMkLst>
            <pc:docMk/>
            <pc:sldMk cId="2558631534" sldId="2526"/>
            <ac:spMk id="12" creationId="{264FF6F5-DD54-6E2E-6B8A-575F0C0F1963}"/>
          </ac:spMkLst>
        </pc:spChg>
        <pc:picChg chg="add del mod">
          <ac:chgData name="Mauricio Pena" userId="e8c94f7e-bc6e-4c95-ac94-d3ff72f76780" providerId="ADAL" clId="{B0B0C007-45D6-4959-BAA4-F8CFD9D4A287}" dt="2023-04-14T10:38:18.073" v="1334" actId="478"/>
          <ac:picMkLst>
            <pc:docMk/>
            <pc:sldMk cId="2558631534" sldId="2526"/>
            <ac:picMk id="13" creationId="{A44898B2-8D53-8DA8-F479-86ABFCD782C4}"/>
          </ac:picMkLst>
        </pc:picChg>
        <pc:inkChg chg="add del">
          <ac:chgData name="Mauricio Pena" userId="e8c94f7e-bc6e-4c95-ac94-d3ff72f76780" providerId="ADAL" clId="{B0B0C007-45D6-4959-BAA4-F8CFD9D4A287}" dt="2023-04-14T10:35:44.734" v="1322" actId="9405"/>
          <ac:inkMkLst>
            <pc:docMk/>
            <pc:sldMk cId="2558631534" sldId="2526"/>
            <ac:inkMk id="11" creationId="{5BF221ED-CE7F-41C1-32A2-1DC76E03C7A9}"/>
          </ac:inkMkLst>
        </pc:inkChg>
      </pc:sldChg>
      <pc:sldChg chg="addSp delSp modSp mod">
        <pc:chgData name="Mauricio Pena" userId="e8c94f7e-bc6e-4c95-ac94-d3ff72f76780" providerId="ADAL" clId="{B0B0C007-45D6-4959-BAA4-F8CFD9D4A287}" dt="2023-04-14T10:40:16.656" v="1346" actId="478"/>
        <pc:sldMkLst>
          <pc:docMk/>
          <pc:sldMk cId="2337050587" sldId="2527"/>
        </pc:sldMkLst>
        <pc:spChg chg="mod">
          <ac:chgData name="Mauricio Pena" userId="e8c94f7e-bc6e-4c95-ac94-d3ff72f76780" providerId="ADAL" clId="{B0B0C007-45D6-4959-BAA4-F8CFD9D4A287}" dt="2023-03-27T08:09:55.077" v="624"/>
          <ac:spMkLst>
            <pc:docMk/>
            <pc:sldMk cId="2337050587" sldId="2527"/>
            <ac:spMk id="4" creationId="{B7DA9801-0835-4143-95FD-E14093FEC971}"/>
          </ac:spMkLst>
        </pc:spChg>
        <pc:spChg chg="add mod">
          <ac:chgData name="Mauricio Pena" userId="e8c94f7e-bc6e-4c95-ac94-d3ff72f76780" providerId="ADAL" clId="{B0B0C007-45D6-4959-BAA4-F8CFD9D4A287}" dt="2023-03-27T08:16:02.052" v="669" actId="1076"/>
          <ac:spMkLst>
            <pc:docMk/>
            <pc:sldMk cId="2337050587" sldId="2527"/>
            <ac:spMk id="7" creationId="{2F273B9E-55A5-0DCC-5724-7238BC743745}"/>
          </ac:spMkLst>
        </pc:spChg>
        <pc:spChg chg="del">
          <ac:chgData name="Mauricio Pena" userId="e8c94f7e-bc6e-4c95-ac94-d3ff72f76780" providerId="ADAL" clId="{B0B0C007-45D6-4959-BAA4-F8CFD9D4A287}" dt="2023-04-14T10:29:52.142" v="1313" actId="478"/>
          <ac:spMkLst>
            <pc:docMk/>
            <pc:sldMk cId="2337050587" sldId="2527"/>
            <ac:spMk id="9" creationId="{2D2070A6-369C-AC61-789B-365B5CF31DAD}"/>
          </ac:spMkLst>
        </pc:spChg>
        <pc:spChg chg="mod">
          <ac:chgData name="Mauricio Pena" userId="e8c94f7e-bc6e-4c95-ac94-d3ff72f76780" providerId="ADAL" clId="{B0B0C007-45D6-4959-BAA4-F8CFD9D4A287}" dt="2023-04-14T10:40:01.413" v="1345" actId="123"/>
          <ac:spMkLst>
            <pc:docMk/>
            <pc:sldMk cId="2337050587" sldId="2527"/>
            <ac:spMk id="9" creationId="{F994BD5C-94F8-9C5C-D955-A87A0556EF2A}"/>
          </ac:spMkLst>
        </pc:spChg>
        <pc:spChg chg="add del mod">
          <ac:chgData name="Mauricio Pena" userId="e8c94f7e-bc6e-4c95-ac94-d3ff72f76780" providerId="ADAL" clId="{B0B0C007-45D6-4959-BAA4-F8CFD9D4A287}" dt="2023-04-14T10:38:26.833" v="1335" actId="478"/>
          <ac:spMkLst>
            <pc:docMk/>
            <pc:sldMk cId="2337050587" sldId="2527"/>
            <ac:spMk id="10" creationId="{99DED6C9-3CB5-1EE3-0A66-BBF34373C064}"/>
          </ac:spMkLst>
        </pc:spChg>
        <pc:spChg chg="add del mod">
          <ac:chgData name="Mauricio Pena" userId="e8c94f7e-bc6e-4c95-ac94-d3ff72f76780" providerId="ADAL" clId="{B0B0C007-45D6-4959-BAA4-F8CFD9D4A287}" dt="2023-04-14T10:40:16.656" v="1346" actId="478"/>
          <ac:spMkLst>
            <pc:docMk/>
            <pc:sldMk cId="2337050587" sldId="2527"/>
            <ac:spMk id="11" creationId="{151E57A5-2608-E23D-AA6F-24E62DEBD853}"/>
          </ac:spMkLst>
        </pc:spChg>
        <pc:spChg chg="add del mod">
          <ac:chgData name="Mauricio Pena" userId="e8c94f7e-bc6e-4c95-ac94-d3ff72f76780" providerId="ADAL" clId="{B0B0C007-45D6-4959-BAA4-F8CFD9D4A287}" dt="2023-04-14T10:39:36.936" v="1342" actId="478"/>
          <ac:spMkLst>
            <pc:docMk/>
            <pc:sldMk cId="2337050587" sldId="2527"/>
            <ac:spMk id="12" creationId="{3C7C742A-385A-3BFF-4F33-946DD35CC744}"/>
          </ac:spMkLst>
        </pc:spChg>
      </pc:sldChg>
      <pc:sldChg chg="addSp delSp modSp new mod ord">
        <pc:chgData name="Mauricio Pena" userId="e8c94f7e-bc6e-4c95-ac94-d3ff72f76780" providerId="ADAL" clId="{B0B0C007-45D6-4959-BAA4-F8CFD9D4A287}" dt="2023-03-28T05:37:52.982" v="1264" actId="113"/>
        <pc:sldMkLst>
          <pc:docMk/>
          <pc:sldMk cId="3350667678" sldId="2528"/>
        </pc:sldMkLst>
        <pc:spChg chg="del mod">
          <ac:chgData name="Mauricio Pena" userId="e8c94f7e-bc6e-4c95-ac94-d3ff72f76780" providerId="ADAL" clId="{B0B0C007-45D6-4959-BAA4-F8CFD9D4A287}" dt="2023-03-27T07:11:38.164" v="49"/>
          <ac:spMkLst>
            <pc:docMk/>
            <pc:sldMk cId="3350667678" sldId="2528"/>
            <ac:spMk id="2" creationId="{590A852A-0B00-077E-6A4E-464F9BF0976E}"/>
          </ac:spMkLst>
        </pc:spChg>
        <pc:spChg chg="mod">
          <ac:chgData name="Mauricio Pena" userId="e8c94f7e-bc6e-4c95-ac94-d3ff72f76780" providerId="ADAL" clId="{B0B0C007-45D6-4959-BAA4-F8CFD9D4A287}" dt="2023-03-27T07:37:48.557" v="466" actId="1076"/>
          <ac:spMkLst>
            <pc:docMk/>
            <pc:sldMk cId="3350667678" sldId="2528"/>
            <ac:spMk id="3" creationId="{4CC1436C-60D4-A07F-BC7A-FCF9A06337DC}"/>
          </ac:spMkLst>
        </pc:spChg>
        <pc:spChg chg="mod">
          <ac:chgData name="Mauricio Pena" userId="e8c94f7e-bc6e-4c95-ac94-d3ff72f76780" providerId="ADAL" clId="{B0B0C007-45D6-4959-BAA4-F8CFD9D4A287}" dt="2023-03-28T05:35:02.563" v="1239"/>
          <ac:spMkLst>
            <pc:docMk/>
            <pc:sldMk cId="3350667678" sldId="2528"/>
            <ac:spMk id="5" creationId="{55E6ED9E-D640-81D1-AA07-B1D3C748A609}"/>
          </ac:spMkLst>
        </pc:spChg>
        <pc:spChg chg="mod">
          <ac:chgData name="Mauricio Pena" userId="e8c94f7e-bc6e-4c95-ac94-d3ff72f76780" providerId="ADAL" clId="{B0B0C007-45D6-4959-BAA4-F8CFD9D4A287}" dt="2023-03-28T05:35:02.563" v="1239"/>
          <ac:spMkLst>
            <pc:docMk/>
            <pc:sldMk cId="3350667678" sldId="2528"/>
            <ac:spMk id="6" creationId="{84E721E3-03CA-AB4D-8147-48C44C3F9094}"/>
          </ac:spMkLst>
        </pc:spChg>
        <pc:spChg chg="add mod">
          <ac:chgData name="Mauricio Pena" userId="e8c94f7e-bc6e-4c95-ac94-d3ff72f76780" providerId="ADAL" clId="{B0B0C007-45D6-4959-BAA4-F8CFD9D4A287}" dt="2023-03-28T05:35:33.329" v="1242" actId="1076"/>
          <ac:spMkLst>
            <pc:docMk/>
            <pc:sldMk cId="3350667678" sldId="2528"/>
            <ac:spMk id="7" creationId="{7019796C-7145-51CA-BB17-18E3A40E714F}"/>
          </ac:spMkLst>
        </pc:spChg>
        <pc:spChg chg="add del mod">
          <ac:chgData name="Mauricio Pena" userId="e8c94f7e-bc6e-4c95-ac94-d3ff72f76780" providerId="ADAL" clId="{B0B0C007-45D6-4959-BAA4-F8CFD9D4A287}" dt="2023-03-27T07:13:22.543" v="57" actId="478"/>
          <ac:spMkLst>
            <pc:docMk/>
            <pc:sldMk cId="3350667678" sldId="2528"/>
            <ac:spMk id="7" creationId="{76A096EB-B1B3-0984-368B-2B1C93E2CAA1}"/>
          </ac:spMkLst>
        </pc:spChg>
        <pc:spChg chg="del mod">
          <ac:chgData name="Mauricio Pena" userId="e8c94f7e-bc6e-4c95-ac94-d3ff72f76780" providerId="ADAL" clId="{B0B0C007-45D6-4959-BAA4-F8CFD9D4A287}" dt="2023-03-27T07:14:03.939" v="125" actId="478"/>
          <ac:spMkLst>
            <pc:docMk/>
            <pc:sldMk cId="3350667678" sldId="2528"/>
            <ac:spMk id="15" creationId="{8068080B-A5F3-0F94-A70B-BA175ECE3BF2}"/>
          </ac:spMkLst>
        </pc:spChg>
        <pc:spChg chg="del mod">
          <ac:chgData name="Mauricio Pena" userId="e8c94f7e-bc6e-4c95-ac94-d3ff72f76780" providerId="ADAL" clId="{B0B0C007-45D6-4959-BAA4-F8CFD9D4A287}" dt="2023-03-27T07:14:09.826" v="126" actId="478"/>
          <ac:spMkLst>
            <pc:docMk/>
            <pc:sldMk cId="3350667678" sldId="2528"/>
            <ac:spMk id="16" creationId="{B312909A-4EA3-9AE3-7C68-B1117F29F429}"/>
          </ac:spMkLst>
        </pc:spChg>
        <pc:spChg chg="del mod">
          <ac:chgData name="Mauricio Pena" userId="e8c94f7e-bc6e-4c95-ac94-d3ff72f76780" providerId="ADAL" clId="{B0B0C007-45D6-4959-BAA4-F8CFD9D4A287}" dt="2023-03-27T07:14:02.050" v="124" actId="478"/>
          <ac:spMkLst>
            <pc:docMk/>
            <pc:sldMk cId="3350667678" sldId="2528"/>
            <ac:spMk id="17" creationId="{FFEB42A0-7D37-A6E1-1F0E-FD4515A9B816}"/>
          </ac:spMkLst>
        </pc:spChg>
        <pc:spChg chg="del mod">
          <ac:chgData name="Mauricio Pena" userId="e8c94f7e-bc6e-4c95-ac94-d3ff72f76780" providerId="ADAL" clId="{B0B0C007-45D6-4959-BAA4-F8CFD9D4A287}" dt="2023-03-27T07:14:14.210" v="127" actId="478"/>
          <ac:spMkLst>
            <pc:docMk/>
            <pc:sldMk cId="3350667678" sldId="2528"/>
            <ac:spMk id="18" creationId="{3C91CA96-80FE-782A-422B-DB8823661D27}"/>
          </ac:spMkLst>
        </pc:spChg>
        <pc:spChg chg="del mod">
          <ac:chgData name="Mauricio Pena" userId="e8c94f7e-bc6e-4c95-ac94-d3ff72f76780" providerId="ADAL" clId="{B0B0C007-45D6-4959-BAA4-F8CFD9D4A287}" dt="2023-03-27T07:13:59.746" v="123" actId="478"/>
          <ac:spMkLst>
            <pc:docMk/>
            <pc:sldMk cId="3350667678" sldId="2528"/>
            <ac:spMk id="19" creationId="{FAF53E9F-9893-828D-AAAE-49F657496AC3}"/>
          </ac:spMkLst>
        </pc:spChg>
        <pc:spChg chg="del mod">
          <ac:chgData name="Mauricio Pena" userId="e8c94f7e-bc6e-4c95-ac94-d3ff72f76780" providerId="ADAL" clId="{B0B0C007-45D6-4959-BAA4-F8CFD9D4A287}" dt="2023-03-27T07:14:16.995" v="128" actId="478"/>
          <ac:spMkLst>
            <pc:docMk/>
            <pc:sldMk cId="3350667678" sldId="2528"/>
            <ac:spMk id="20" creationId="{2656B2BF-CAC0-7D07-CDFA-2D7B43403348}"/>
          </ac:spMkLst>
        </pc:spChg>
        <pc:spChg chg="del mod">
          <ac:chgData name="Mauricio Pena" userId="e8c94f7e-bc6e-4c95-ac94-d3ff72f76780" providerId="ADAL" clId="{B0B0C007-45D6-4959-BAA4-F8CFD9D4A287}" dt="2023-03-27T07:13:57.076" v="121" actId="478"/>
          <ac:spMkLst>
            <pc:docMk/>
            <pc:sldMk cId="3350667678" sldId="2528"/>
            <ac:spMk id="21" creationId="{595294D3-875A-9513-E6DB-D8848AFEDAE5}"/>
          </ac:spMkLst>
        </pc:spChg>
        <pc:spChg chg="del mod">
          <ac:chgData name="Mauricio Pena" userId="e8c94f7e-bc6e-4c95-ac94-d3ff72f76780" providerId="ADAL" clId="{B0B0C007-45D6-4959-BAA4-F8CFD9D4A287}" dt="2023-03-27T07:14:19.238" v="129" actId="478"/>
          <ac:spMkLst>
            <pc:docMk/>
            <pc:sldMk cId="3350667678" sldId="2528"/>
            <ac:spMk id="22" creationId="{98FAEED5-650A-C98F-4E0D-C7F7DA398DA7}"/>
          </ac:spMkLst>
        </pc:spChg>
        <pc:spChg chg="del mod">
          <ac:chgData name="Mauricio Pena" userId="e8c94f7e-bc6e-4c95-ac94-d3ff72f76780" providerId="ADAL" clId="{B0B0C007-45D6-4959-BAA4-F8CFD9D4A287}" dt="2023-03-27T07:35:31.902" v="380" actId="478"/>
          <ac:spMkLst>
            <pc:docMk/>
            <pc:sldMk cId="3350667678" sldId="2528"/>
            <ac:spMk id="23" creationId="{34236162-2A49-FAA8-F85D-0EC726E76456}"/>
          </ac:spMkLst>
        </pc:spChg>
        <pc:spChg chg="del mod topLvl">
          <ac:chgData name="Mauricio Pena" userId="e8c94f7e-bc6e-4c95-ac94-d3ff72f76780" providerId="ADAL" clId="{B0B0C007-45D6-4959-BAA4-F8CFD9D4A287}" dt="2023-03-27T07:35:34.270" v="381" actId="478"/>
          <ac:spMkLst>
            <pc:docMk/>
            <pc:sldMk cId="3350667678" sldId="2528"/>
            <ac:spMk id="24" creationId="{AD467341-5924-8DE5-1884-6F8743433E54}"/>
          </ac:spMkLst>
        </pc:spChg>
        <pc:spChg chg="mod">
          <ac:chgData name="Mauricio Pena" userId="e8c94f7e-bc6e-4c95-ac94-d3ff72f76780" providerId="ADAL" clId="{B0B0C007-45D6-4959-BAA4-F8CFD9D4A287}" dt="2023-03-27T07:13:36.450" v="78" actId="20577"/>
          <ac:spMkLst>
            <pc:docMk/>
            <pc:sldMk cId="3350667678" sldId="2528"/>
            <ac:spMk id="25" creationId="{A062EA1F-1652-3350-8E3E-B32E76B6904F}"/>
          </ac:spMkLst>
        </pc:spChg>
        <pc:spChg chg="mod">
          <ac:chgData name="Mauricio Pena" userId="e8c94f7e-bc6e-4c95-ac94-d3ff72f76780" providerId="ADAL" clId="{B0B0C007-45D6-4959-BAA4-F8CFD9D4A287}" dt="2023-03-27T07:12:48.696" v="56"/>
          <ac:spMkLst>
            <pc:docMk/>
            <pc:sldMk cId="3350667678" sldId="2528"/>
            <ac:spMk id="26" creationId="{4E8542FD-7375-44DC-1029-5E8885FDE87D}"/>
          </ac:spMkLst>
        </pc:spChg>
        <pc:spChg chg="add del mod">
          <ac:chgData name="Mauricio Pena" userId="e8c94f7e-bc6e-4c95-ac94-d3ff72f76780" providerId="ADAL" clId="{B0B0C007-45D6-4959-BAA4-F8CFD9D4A287}" dt="2023-03-27T07:33:58.700" v="330" actId="478"/>
          <ac:spMkLst>
            <pc:docMk/>
            <pc:sldMk cId="3350667678" sldId="2528"/>
            <ac:spMk id="27" creationId="{E5F9EE4C-BA03-8748-5A6A-0D14294C6B62}"/>
          </ac:spMkLst>
        </pc:spChg>
        <pc:spChg chg="add mod">
          <ac:chgData name="Mauricio Pena" userId="e8c94f7e-bc6e-4c95-ac94-d3ff72f76780" providerId="ADAL" clId="{B0B0C007-45D6-4959-BAA4-F8CFD9D4A287}" dt="2023-03-28T05:37:52.982" v="1264" actId="113"/>
          <ac:spMkLst>
            <pc:docMk/>
            <pc:sldMk cId="3350667678" sldId="2528"/>
            <ac:spMk id="30" creationId="{D7D58870-CD42-8214-D742-2C13690708D7}"/>
          </ac:spMkLst>
        </pc:spChg>
        <pc:grpChg chg="add mod">
          <ac:chgData name="Mauricio Pena" userId="e8c94f7e-bc6e-4c95-ac94-d3ff72f76780" providerId="ADAL" clId="{B0B0C007-45D6-4959-BAA4-F8CFD9D4A287}" dt="2023-03-28T05:35:08.509" v="1240" actId="1076"/>
          <ac:grpSpMkLst>
            <pc:docMk/>
            <pc:sldMk cId="3350667678" sldId="2528"/>
            <ac:grpSpMk id="2" creationId="{0711241C-01E1-113A-6ADD-2FC7C65F188B}"/>
          </ac:grpSpMkLst>
        </pc:grpChg>
        <pc:grpChg chg="add del mod">
          <ac:chgData name="Mauricio Pena" userId="e8c94f7e-bc6e-4c95-ac94-d3ff72f76780" providerId="ADAL" clId="{B0B0C007-45D6-4959-BAA4-F8CFD9D4A287}" dt="2023-03-27T07:35:34.270" v="381" actId="478"/>
          <ac:grpSpMkLst>
            <pc:docMk/>
            <pc:sldMk cId="3350667678" sldId="2528"/>
            <ac:grpSpMk id="8" creationId="{88FCE57C-72FB-A858-1877-AE2BF715F5B3}"/>
          </ac:grpSpMkLst>
        </pc:grpChg>
        <pc:grpChg chg="mod topLvl">
          <ac:chgData name="Mauricio Pena" userId="e8c94f7e-bc6e-4c95-ac94-d3ff72f76780" providerId="ADAL" clId="{B0B0C007-45D6-4959-BAA4-F8CFD9D4A287}" dt="2023-03-27T07:37:55.475" v="467" actId="1076"/>
          <ac:grpSpMkLst>
            <pc:docMk/>
            <pc:sldMk cId="3350667678" sldId="2528"/>
            <ac:grpSpMk id="9" creationId="{30FAC716-C6EF-33E4-05BB-BF60E2EC8752}"/>
          </ac:grpSpMkLst>
        </pc:grpChg>
        <pc:grpChg chg="del mod">
          <ac:chgData name="Mauricio Pena" userId="e8c94f7e-bc6e-4c95-ac94-d3ff72f76780" providerId="ADAL" clId="{B0B0C007-45D6-4959-BAA4-F8CFD9D4A287}" dt="2023-03-27T07:35:31.902" v="380" actId="478"/>
          <ac:grpSpMkLst>
            <pc:docMk/>
            <pc:sldMk cId="3350667678" sldId="2528"/>
            <ac:grpSpMk id="10" creationId="{77269F0B-8FCB-8FA7-D38F-A2C02785AD55}"/>
          </ac:grpSpMkLst>
        </pc:grpChg>
        <pc:grpChg chg="del mod">
          <ac:chgData name="Mauricio Pena" userId="e8c94f7e-bc6e-4c95-ac94-d3ff72f76780" providerId="ADAL" clId="{B0B0C007-45D6-4959-BAA4-F8CFD9D4A287}" dt="2023-03-27T07:13:57.076" v="121" actId="478"/>
          <ac:grpSpMkLst>
            <pc:docMk/>
            <pc:sldMk cId="3350667678" sldId="2528"/>
            <ac:grpSpMk id="11" creationId="{BF161A47-54D3-4797-C9EC-6F1DE973C2F6}"/>
          </ac:grpSpMkLst>
        </pc:grpChg>
        <pc:grpChg chg="del mod">
          <ac:chgData name="Mauricio Pena" userId="e8c94f7e-bc6e-4c95-ac94-d3ff72f76780" providerId="ADAL" clId="{B0B0C007-45D6-4959-BAA4-F8CFD9D4A287}" dt="2023-03-27T07:13:59.746" v="123" actId="478"/>
          <ac:grpSpMkLst>
            <pc:docMk/>
            <pc:sldMk cId="3350667678" sldId="2528"/>
            <ac:grpSpMk id="12" creationId="{D660F787-5A3E-90BE-99D3-AA72185D5D16}"/>
          </ac:grpSpMkLst>
        </pc:grpChg>
        <pc:grpChg chg="del mod">
          <ac:chgData name="Mauricio Pena" userId="e8c94f7e-bc6e-4c95-ac94-d3ff72f76780" providerId="ADAL" clId="{B0B0C007-45D6-4959-BAA4-F8CFD9D4A287}" dt="2023-03-27T07:14:02.050" v="124" actId="478"/>
          <ac:grpSpMkLst>
            <pc:docMk/>
            <pc:sldMk cId="3350667678" sldId="2528"/>
            <ac:grpSpMk id="13" creationId="{68442A27-2316-9C60-F072-0FACB98EF81E}"/>
          </ac:grpSpMkLst>
        </pc:grpChg>
        <pc:grpChg chg="del mod">
          <ac:chgData name="Mauricio Pena" userId="e8c94f7e-bc6e-4c95-ac94-d3ff72f76780" providerId="ADAL" clId="{B0B0C007-45D6-4959-BAA4-F8CFD9D4A287}" dt="2023-03-27T07:14:03.939" v="125" actId="478"/>
          <ac:grpSpMkLst>
            <pc:docMk/>
            <pc:sldMk cId="3350667678" sldId="2528"/>
            <ac:grpSpMk id="14" creationId="{05A6D6D5-5549-8156-B30B-081FDDA672C0}"/>
          </ac:grpSpMkLst>
        </pc:grpChg>
        <pc:graphicFrameChg chg="add del mod modGraphic">
          <ac:chgData name="Mauricio Pena" userId="e8c94f7e-bc6e-4c95-ac94-d3ff72f76780" providerId="ADAL" clId="{B0B0C007-45D6-4959-BAA4-F8CFD9D4A287}" dt="2023-03-27T07:21:28.301" v="256" actId="27309"/>
          <ac:graphicFrameMkLst>
            <pc:docMk/>
            <pc:sldMk cId="3350667678" sldId="2528"/>
            <ac:graphicFrameMk id="29" creationId="{EFCE5C61-7FEF-3096-9A41-FFFF2DFE3D72}"/>
          </ac:graphicFrameMkLst>
        </pc:graphicFrameChg>
        <pc:picChg chg="add del mod">
          <ac:chgData name="Mauricio Pena" userId="e8c94f7e-bc6e-4c95-ac94-d3ff72f76780" providerId="ADAL" clId="{B0B0C007-45D6-4959-BAA4-F8CFD9D4A287}" dt="2023-03-27T07:12:04.383" v="55" actId="478"/>
          <ac:picMkLst>
            <pc:docMk/>
            <pc:sldMk cId="3350667678" sldId="2528"/>
            <ac:picMk id="5" creationId="{CD08DEFB-6801-2C55-7874-C671FCE68AD9}"/>
          </ac:picMkLst>
        </pc:picChg>
        <pc:picChg chg="add del mod">
          <ac:chgData name="Mauricio Pena" userId="e8c94f7e-bc6e-4c95-ac94-d3ff72f76780" providerId="ADAL" clId="{B0B0C007-45D6-4959-BAA4-F8CFD9D4A287}" dt="2023-03-27T07:12:03.504" v="54" actId="478"/>
          <ac:picMkLst>
            <pc:docMk/>
            <pc:sldMk cId="3350667678" sldId="2528"/>
            <ac:picMk id="6" creationId="{9DA37D68-EDA8-27CA-FD98-9C6207E9C582}"/>
          </ac:picMkLst>
        </pc:picChg>
      </pc:sldChg>
      <pc:sldChg chg="new del">
        <pc:chgData name="Mauricio Pena" userId="e8c94f7e-bc6e-4c95-ac94-d3ff72f76780" providerId="ADAL" clId="{B0B0C007-45D6-4959-BAA4-F8CFD9D4A287}" dt="2023-03-27T07:05:14.232" v="6" actId="2696"/>
        <pc:sldMkLst>
          <pc:docMk/>
          <pc:sldMk cId="3572376677" sldId="2528"/>
        </pc:sldMkLst>
      </pc:sldChg>
      <pc:sldChg chg="new del">
        <pc:chgData name="Mauricio Pena" userId="e8c94f7e-bc6e-4c95-ac94-d3ff72f76780" providerId="ADAL" clId="{B0B0C007-45D6-4959-BAA4-F8CFD9D4A287}" dt="2023-03-27T07:04:36.275" v="4" actId="2696"/>
        <pc:sldMkLst>
          <pc:docMk/>
          <pc:sldMk cId="4207907230" sldId="2528"/>
        </pc:sldMkLst>
      </pc:sldChg>
      <pc:sldChg chg="addSp delSp modSp add del mod">
        <pc:chgData name="Mauricio Pena" userId="e8c94f7e-bc6e-4c95-ac94-d3ff72f76780" providerId="ADAL" clId="{B0B0C007-45D6-4959-BAA4-F8CFD9D4A287}" dt="2023-03-28T05:35:45.267" v="1243" actId="2696"/>
        <pc:sldMkLst>
          <pc:docMk/>
          <pc:sldMk cId="2320169938" sldId="2529"/>
        </pc:sldMkLst>
        <pc:spChg chg="add mod">
          <ac:chgData name="Mauricio Pena" userId="e8c94f7e-bc6e-4c95-ac94-d3ff72f76780" providerId="ADAL" clId="{B0B0C007-45D6-4959-BAA4-F8CFD9D4A287}" dt="2023-03-27T08:04:47.771" v="618" actId="113"/>
          <ac:spMkLst>
            <pc:docMk/>
            <pc:sldMk cId="2320169938" sldId="2529"/>
            <ac:spMk id="2" creationId="{7C3569D6-5BDE-E114-E4B4-1A9F8AD92EB5}"/>
          </ac:spMkLst>
        </pc:spChg>
        <pc:spChg chg="mod">
          <ac:chgData name="Mauricio Pena" userId="e8c94f7e-bc6e-4c95-ac94-d3ff72f76780" providerId="ADAL" clId="{B0B0C007-45D6-4959-BAA4-F8CFD9D4A287}" dt="2023-03-27T07:37:10.723" v="462" actId="1076"/>
          <ac:spMkLst>
            <pc:docMk/>
            <pc:sldMk cId="2320169938" sldId="2529"/>
            <ac:spMk id="3" creationId="{4CC1436C-60D4-A07F-BC7A-FCF9A06337DC}"/>
          </ac:spMkLst>
        </pc:spChg>
        <pc:spChg chg="mod">
          <ac:chgData name="Mauricio Pena" userId="e8c94f7e-bc6e-4c95-ac94-d3ff72f76780" providerId="ADAL" clId="{B0B0C007-45D6-4959-BAA4-F8CFD9D4A287}" dt="2023-03-27T07:36:30.311" v="446" actId="1076"/>
          <ac:spMkLst>
            <pc:docMk/>
            <pc:sldMk cId="2320169938" sldId="2529"/>
            <ac:spMk id="23" creationId="{34236162-2A49-FAA8-F85D-0EC726E76456}"/>
          </ac:spMkLst>
        </pc:spChg>
        <pc:spChg chg="mod">
          <ac:chgData name="Mauricio Pena" userId="e8c94f7e-bc6e-4c95-ac94-d3ff72f76780" providerId="ADAL" clId="{B0B0C007-45D6-4959-BAA4-F8CFD9D4A287}" dt="2023-03-27T07:36:35.767" v="447" actId="1076"/>
          <ac:spMkLst>
            <pc:docMk/>
            <pc:sldMk cId="2320169938" sldId="2529"/>
            <ac:spMk id="24" creationId="{AD467341-5924-8DE5-1884-6F8743433E54}"/>
          </ac:spMkLst>
        </pc:spChg>
        <pc:spChg chg="del topLvl">
          <ac:chgData name="Mauricio Pena" userId="e8c94f7e-bc6e-4c95-ac94-d3ff72f76780" providerId="ADAL" clId="{B0B0C007-45D6-4959-BAA4-F8CFD9D4A287}" dt="2023-03-27T07:58:50.162" v="573" actId="478"/>
          <ac:spMkLst>
            <pc:docMk/>
            <pc:sldMk cId="2320169938" sldId="2529"/>
            <ac:spMk id="25" creationId="{A062EA1F-1652-3350-8E3E-B32E76B6904F}"/>
          </ac:spMkLst>
        </pc:spChg>
        <pc:spChg chg="del">
          <ac:chgData name="Mauricio Pena" userId="e8c94f7e-bc6e-4c95-ac94-d3ff72f76780" providerId="ADAL" clId="{B0B0C007-45D6-4959-BAA4-F8CFD9D4A287}" dt="2023-03-27T07:58:48.403" v="572" actId="478"/>
          <ac:spMkLst>
            <pc:docMk/>
            <pc:sldMk cId="2320169938" sldId="2529"/>
            <ac:spMk id="26" creationId="{4E8542FD-7375-44DC-1029-5E8885FDE87D}"/>
          </ac:spMkLst>
        </pc:spChg>
        <pc:spChg chg="del mod">
          <ac:chgData name="Mauricio Pena" userId="e8c94f7e-bc6e-4c95-ac94-d3ff72f76780" providerId="ADAL" clId="{B0B0C007-45D6-4959-BAA4-F8CFD9D4A287}" dt="2023-03-27T07:58:51.873" v="574" actId="478"/>
          <ac:spMkLst>
            <pc:docMk/>
            <pc:sldMk cId="2320169938" sldId="2529"/>
            <ac:spMk id="30" creationId="{D7D58870-CD42-8214-D742-2C13690708D7}"/>
          </ac:spMkLst>
        </pc:spChg>
        <pc:grpChg chg="del mod">
          <ac:chgData name="Mauricio Pena" userId="e8c94f7e-bc6e-4c95-ac94-d3ff72f76780" providerId="ADAL" clId="{B0B0C007-45D6-4959-BAA4-F8CFD9D4A287}" dt="2023-03-27T07:58:50.162" v="573" actId="478"/>
          <ac:grpSpMkLst>
            <pc:docMk/>
            <pc:sldMk cId="2320169938" sldId="2529"/>
            <ac:grpSpMk id="8" creationId="{88FCE57C-72FB-A858-1877-AE2BF715F5B3}"/>
          </ac:grpSpMkLst>
        </pc:grpChg>
        <pc:grpChg chg="del">
          <ac:chgData name="Mauricio Pena" userId="e8c94f7e-bc6e-4c95-ac94-d3ff72f76780" providerId="ADAL" clId="{B0B0C007-45D6-4959-BAA4-F8CFD9D4A287}" dt="2023-03-27T07:58:48.403" v="572" actId="478"/>
          <ac:grpSpMkLst>
            <pc:docMk/>
            <pc:sldMk cId="2320169938" sldId="2529"/>
            <ac:grpSpMk id="9" creationId="{30FAC716-C6EF-33E4-05BB-BF60E2EC8752}"/>
          </ac:grpSpMkLst>
        </pc:grpChg>
        <pc:grpChg chg="mod topLvl">
          <ac:chgData name="Mauricio Pena" userId="e8c94f7e-bc6e-4c95-ac94-d3ff72f76780" providerId="ADAL" clId="{B0B0C007-45D6-4959-BAA4-F8CFD9D4A287}" dt="2023-03-27T07:59:04.764" v="575" actId="1076"/>
          <ac:grpSpMkLst>
            <pc:docMk/>
            <pc:sldMk cId="2320169938" sldId="2529"/>
            <ac:grpSpMk id="10" creationId="{77269F0B-8FCB-8FA7-D38F-A2C02785AD55}"/>
          </ac:grpSpMkLst>
        </pc:grpChg>
      </pc:sldChg>
      <pc:sldMasterChg chg="modSldLayout">
        <pc:chgData name="Mauricio Pena" userId="e8c94f7e-bc6e-4c95-ac94-d3ff72f76780" providerId="ADAL" clId="{B0B0C007-45D6-4959-BAA4-F8CFD9D4A287}" dt="2023-04-14T10:13:44.902" v="1273"/>
        <pc:sldMasterMkLst>
          <pc:docMk/>
          <pc:sldMasterMk cId="0" sldId="2147483804"/>
        </pc:sldMasterMkLst>
        <pc:sldLayoutChg chg="addSp delSp modSp">
          <pc:chgData name="Mauricio Pena" userId="e8c94f7e-bc6e-4c95-ac94-d3ff72f76780" providerId="ADAL" clId="{B0B0C007-45D6-4959-BAA4-F8CFD9D4A287}" dt="2023-04-14T10:13:44.902" v="1273"/>
          <pc:sldLayoutMkLst>
            <pc:docMk/>
            <pc:sldMasterMk cId="0" sldId="2147483804"/>
            <pc:sldLayoutMk cId="394290957" sldId="2147484021"/>
          </pc:sldLayoutMkLst>
          <pc:spChg chg="del">
            <ac:chgData name="Mauricio Pena" userId="e8c94f7e-bc6e-4c95-ac94-d3ff72f76780" providerId="ADAL" clId="{B0B0C007-45D6-4959-BAA4-F8CFD9D4A287}" dt="2023-04-14T10:09:56.386" v="1267"/>
            <ac:spMkLst>
              <pc:docMk/>
              <pc:sldMasterMk cId="0" sldId="2147483804"/>
              <pc:sldLayoutMk cId="394290957" sldId="2147484021"/>
              <ac:spMk id="2" creationId="{00000000-0000-0000-0000-000000000000}"/>
            </ac:spMkLst>
          </pc:spChg>
          <pc:spChg chg="add del mod">
            <ac:chgData name="Mauricio Pena" userId="e8c94f7e-bc6e-4c95-ac94-d3ff72f76780" providerId="ADAL" clId="{B0B0C007-45D6-4959-BAA4-F8CFD9D4A287}" dt="2023-04-14T10:09:59.702" v="1269"/>
            <ac:spMkLst>
              <pc:docMk/>
              <pc:sldMasterMk cId="0" sldId="2147483804"/>
              <pc:sldLayoutMk cId="394290957" sldId="2147484021"/>
              <ac:spMk id="3" creationId="{B72E9722-66B2-619C-77C5-53D58E7730B6}"/>
            </ac:spMkLst>
          </pc:spChg>
          <pc:spChg chg="add del mod">
            <ac:chgData name="Mauricio Pena" userId="e8c94f7e-bc6e-4c95-ac94-d3ff72f76780" providerId="ADAL" clId="{B0B0C007-45D6-4959-BAA4-F8CFD9D4A287}" dt="2023-04-14T10:13:43.877" v="1272"/>
            <ac:spMkLst>
              <pc:docMk/>
              <pc:sldMasterMk cId="0" sldId="2147483804"/>
              <pc:sldLayoutMk cId="394290957" sldId="2147484021"/>
              <ac:spMk id="5" creationId="{BB596FDE-AC32-0D35-A4AF-00C9C1DF4B8F}"/>
            </ac:spMkLst>
          </pc:spChg>
          <pc:spChg chg="add mod">
            <ac:chgData name="Mauricio Pena" userId="e8c94f7e-bc6e-4c95-ac94-d3ff72f76780" providerId="ADAL" clId="{B0B0C007-45D6-4959-BAA4-F8CFD9D4A287}" dt="2023-04-14T10:13:40.599" v="1271"/>
            <ac:spMkLst>
              <pc:docMk/>
              <pc:sldMasterMk cId="0" sldId="2147483804"/>
              <pc:sldLayoutMk cId="394290957" sldId="2147484021"/>
              <ac:spMk id="7" creationId="{5C9B2F54-7B5E-309F-F6A6-17BB441280F6}"/>
            </ac:spMkLst>
          </pc:spChg>
          <pc:spChg chg="add mod">
            <ac:chgData name="Mauricio Pena" userId="e8c94f7e-bc6e-4c95-ac94-d3ff72f76780" providerId="ADAL" clId="{B0B0C007-45D6-4959-BAA4-F8CFD9D4A287}" dt="2023-04-14T10:13:44.902" v="1273"/>
            <ac:spMkLst>
              <pc:docMk/>
              <pc:sldMasterMk cId="0" sldId="2147483804"/>
              <pc:sldLayoutMk cId="394290957" sldId="2147484021"/>
              <ac:spMk id="8" creationId="{5F56939B-100C-7693-6068-68FBFF18FB68}"/>
            </ac:spMkLst>
          </pc:spChg>
        </pc:sldLayoutChg>
      </pc:sldMasterChg>
    </pc:docChg>
  </pc:docChgLst>
  <pc:docChgLst>
    <pc:chgData name="Suleiman Mesto" userId="S::mesto.suleiman@es.sika.com::b079e64d-10fa-49c0-aa6b-01f372729768" providerId="AD" clId="Web-{2E198718-A887-44C9-887F-EE5FFF307D3A}"/>
    <pc:docChg chg="modSld">
      <pc:chgData name="Suleiman Mesto" userId="S::mesto.suleiman@es.sika.com::b079e64d-10fa-49c0-aa6b-01f372729768" providerId="AD" clId="Web-{2E198718-A887-44C9-887F-EE5FFF307D3A}" dt="2023-03-27T06:29:20.434" v="36" actId="20577"/>
      <pc:docMkLst>
        <pc:docMk/>
      </pc:docMkLst>
      <pc:sldChg chg="addSp delSp modSp">
        <pc:chgData name="Suleiman Mesto" userId="S::mesto.suleiman@es.sika.com::b079e64d-10fa-49c0-aa6b-01f372729768" providerId="AD" clId="Web-{2E198718-A887-44C9-887F-EE5FFF307D3A}" dt="2023-03-27T06:27:55.978" v="22"/>
        <pc:sldMkLst>
          <pc:docMk/>
          <pc:sldMk cId="0" sldId="283"/>
        </pc:sldMkLst>
        <pc:spChg chg="mod">
          <ac:chgData name="Suleiman Mesto" userId="S::mesto.suleiman@es.sika.com::b079e64d-10fa-49c0-aa6b-01f372729768" providerId="AD" clId="Web-{2E198718-A887-44C9-887F-EE5FFF307D3A}" dt="2023-03-27T06:12:07.899" v="7" actId="20577"/>
          <ac:spMkLst>
            <pc:docMk/>
            <pc:sldMk cId="0" sldId="283"/>
            <ac:spMk id="3" creationId="{18565701-498B-4BA6-9AF2-C14C63DAE209}"/>
          </ac:spMkLst>
        </pc:spChg>
        <pc:spChg chg="add mod">
          <ac:chgData name="Suleiman Mesto" userId="S::mesto.suleiman@es.sika.com::b079e64d-10fa-49c0-aa6b-01f372729768" providerId="AD" clId="Web-{2E198718-A887-44C9-887F-EE5FFF307D3A}" dt="2023-03-27T06:27:55.978" v="22"/>
          <ac:spMkLst>
            <pc:docMk/>
            <pc:sldMk cId="0" sldId="283"/>
            <ac:spMk id="9" creationId="{7D9D145E-B543-77B7-AACB-76D3B5B77392}"/>
          </ac:spMkLst>
        </pc:spChg>
        <pc:picChg chg="add del mod">
          <ac:chgData name="Suleiman Mesto" userId="S::mesto.suleiman@es.sika.com::b079e64d-10fa-49c0-aa6b-01f372729768" providerId="AD" clId="Web-{2E198718-A887-44C9-887F-EE5FFF307D3A}" dt="2023-03-27T06:12:30.478" v="10"/>
          <ac:picMkLst>
            <pc:docMk/>
            <pc:sldMk cId="0" sldId="283"/>
            <ac:picMk id="5" creationId="{C2CE7DAA-5FE5-39B4-985B-F722597984DC}"/>
          </ac:picMkLst>
        </pc:picChg>
        <pc:picChg chg="add mod ord modCrop">
          <ac:chgData name="Suleiman Mesto" userId="S::mesto.suleiman@es.sika.com::b079e64d-10fa-49c0-aa6b-01f372729768" providerId="AD" clId="Web-{2E198718-A887-44C9-887F-EE5FFF307D3A}" dt="2023-03-27T06:27:54.368" v="21"/>
          <ac:picMkLst>
            <pc:docMk/>
            <pc:sldMk cId="0" sldId="283"/>
            <ac:picMk id="6" creationId="{A5CC6D39-1ECB-F645-1AFE-2F0C03041A97}"/>
          </ac:picMkLst>
        </pc:picChg>
        <pc:picChg chg="del">
          <ac:chgData name="Suleiman Mesto" userId="S::mesto.suleiman@es.sika.com::b079e64d-10fa-49c0-aa6b-01f372729768" providerId="AD" clId="Web-{2E198718-A887-44C9-887F-EE5FFF307D3A}" dt="2023-03-27T06:27:55.978" v="22"/>
          <ac:picMkLst>
            <pc:docMk/>
            <pc:sldMk cId="0" sldId="283"/>
            <ac:picMk id="17412" creationId="{88669900-EA06-4698-B1E9-D5AC5E4AFAE5}"/>
          </ac:picMkLst>
        </pc:picChg>
      </pc:sldChg>
      <pc:sldChg chg="mod modShow">
        <pc:chgData name="Suleiman Mesto" userId="S::mesto.suleiman@es.sika.com::b079e64d-10fa-49c0-aa6b-01f372729768" providerId="AD" clId="Web-{2E198718-A887-44C9-887F-EE5FFF307D3A}" dt="2023-03-27T06:28:24.057" v="23"/>
        <pc:sldMkLst>
          <pc:docMk/>
          <pc:sldMk cId="0" sldId="2416"/>
        </pc:sldMkLst>
      </pc:sldChg>
      <pc:sldChg chg="modSp">
        <pc:chgData name="Suleiman Mesto" userId="S::mesto.suleiman@es.sika.com::b079e64d-10fa-49c0-aa6b-01f372729768" providerId="AD" clId="Web-{2E198718-A887-44C9-887F-EE5FFF307D3A}" dt="2023-03-27T06:29:20.434" v="36" actId="20577"/>
        <pc:sldMkLst>
          <pc:docMk/>
          <pc:sldMk cId="2681821491" sldId="2449"/>
        </pc:sldMkLst>
        <pc:spChg chg="mod">
          <ac:chgData name="Suleiman Mesto" userId="S::mesto.suleiman@es.sika.com::b079e64d-10fa-49c0-aa6b-01f372729768" providerId="AD" clId="Web-{2E198718-A887-44C9-887F-EE5FFF307D3A}" dt="2023-03-27T06:28:51.620" v="33" actId="20577"/>
          <ac:spMkLst>
            <pc:docMk/>
            <pc:sldMk cId="2681821491" sldId="2449"/>
            <ac:spMk id="4" creationId="{B7DA9801-0835-4143-95FD-E14093FEC971}"/>
          </ac:spMkLst>
        </pc:spChg>
        <pc:spChg chg="mod">
          <ac:chgData name="Suleiman Mesto" userId="S::mesto.suleiman@es.sika.com::b079e64d-10fa-49c0-aa6b-01f372729768" providerId="AD" clId="Web-{2E198718-A887-44C9-887F-EE5FFF307D3A}" dt="2023-03-27T06:29:20.434" v="36" actId="20577"/>
          <ac:spMkLst>
            <pc:docMk/>
            <pc:sldMk cId="2681821491" sldId="2449"/>
            <ac:spMk id="59" creationId="{CBF42CAE-8FD1-403C-A71F-CA56A9EE0447}"/>
          </ac:spMkLst>
        </pc:spChg>
      </pc:sldChg>
    </pc:docChg>
  </pc:docChgLst>
  <pc:docChgLst>
    <pc:chgData name="Mauricio Pena" userId="e8c94f7e-bc6e-4c95-ac94-d3ff72f76780" providerId="ADAL" clId="{DF9CD866-166D-4CBF-9B4A-37921AE04D82}"/>
    <pc:docChg chg="undo redo custSel addSld modSld">
      <pc:chgData name="Mauricio Pena" userId="e8c94f7e-bc6e-4c95-ac94-d3ff72f76780" providerId="ADAL" clId="{DF9CD866-166D-4CBF-9B4A-37921AE04D82}" dt="2024-03-04T10:31:37.526" v="942" actId="1076"/>
      <pc:docMkLst>
        <pc:docMk/>
      </pc:docMkLst>
      <pc:sldChg chg="addSp modSp mod">
        <pc:chgData name="Mauricio Pena" userId="e8c94f7e-bc6e-4c95-ac94-d3ff72f76780" providerId="ADAL" clId="{DF9CD866-166D-4CBF-9B4A-37921AE04D82}" dt="2024-02-05T07:38:20.968" v="135" actId="29295"/>
        <pc:sldMkLst>
          <pc:docMk/>
          <pc:sldMk cId="0" sldId="283"/>
        </pc:sldMkLst>
        <pc:spChg chg="mod">
          <ac:chgData name="Mauricio Pena" userId="e8c94f7e-bc6e-4c95-ac94-d3ff72f76780" providerId="ADAL" clId="{DF9CD866-166D-4CBF-9B4A-37921AE04D82}" dt="2024-02-01T09:36:17.980" v="22" actId="20577"/>
          <ac:spMkLst>
            <pc:docMk/>
            <pc:sldMk cId="0" sldId="283"/>
            <ac:spMk id="2" creationId="{72F36DA5-2921-8668-88B4-7B2CEBE3E63F}"/>
          </ac:spMkLst>
        </pc:spChg>
        <pc:spChg chg="mod">
          <ac:chgData name="Mauricio Pena" userId="e8c94f7e-bc6e-4c95-ac94-d3ff72f76780" providerId="ADAL" clId="{DF9CD866-166D-4CBF-9B4A-37921AE04D82}" dt="2024-02-01T09:36:09.518" v="12" actId="20577"/>
          <ac:spMkLst>
            <pc:docMk/>
            <pc:sldMk cId="0" sldId="283"/>
            <ac:spMk id="3" creationId="{18565701-498B-4BA6-9AF2-C14C63DAE209}"/>
          </ac:spMkLst>
        </pc:spChg>
        <pc:picChg chg="add mod">
          <ac:chgData name="Mauricio Pena" userId="e8c94f7e-bc6e-4c95-ac94-d3ff72f76780" providerId="ADAL" clId="{DF9CD866-166D-4CBF-9B4A-37921AE04D82}" dt="2024-02-05T07:38:20.968" v="135" actId="29295"/>
          <ac:picMkLst>
            <pc:docMk/>
            <pc:sldMk cId="0" sldId="283"/>
            <ac:picMk id="5" creationId="{D70AFCFE-D621-1109-170D-4E0097A9493B}"/>
          </ac:picMkLst>
        </pc:picChg>
        <pc:picChg chg="mod">
          <ac:chgData name="Mauricio Pena" userId="e8c94f7e-bc6e-4c95-ac94-d3ff72f76780" providerId="ADAL" clId="{DF9CD866-166D-4CBF-9B4A-37921AE04D82}" dt="2024-02-01T10:02:55.721" v="126" actId="29295"/>
          <ac:picMkLst>
            <pc:docMk/>
            <pc:sldMk cId="0" sldId="283"/>
            <ac:picMk id="6" creationId="{A5CC6D39-1ECB-F645-1AFE-2F0C03041A97}"/>
          </ac:picMkLst>
        </pc:picChg>
      </pc:sldChg>
      <pc:sldChg chg="modSp mod">
        <pc:chgData name="Mauricio Pena" userId="e8c94f7e-bc6e-4c95-ac94-d3ff72f76780" providerId="ADAL" clId="{DF9CD866-166D-4CBF-9B4A-37921AE04D82}" dt="2024-02-01T10:03:13.966" v="127" actId="29295"/>
        <pc:sldMkLst>
          <pc:docMk/>
          <pc:sldMk cId="7716683" sldId="2522"/>
        </pc:sldMkLst>
        <pc:spChg chg="mod">
          <ac:chgData name="Mauricio Pena" userId="e8c94f7e-bc6e-4c95-ac94-d3ff72f76780" providerId="ADAL" clId="{DF9CD866-166D-4CBF-9B4A-37921AE04D82}" dt="2024-02-01T09:55:42.852" v="117" actId="14100"/>
          <ac:spMkLst>
            <pc:docMk/>
            <pc:sldMk cId="7716683" sldId="2522"/>
            <ac:spMk id="3" creationId="{BCCE3648-8753-4528-81B2-38C8DA48DA6F}"/>
          </ac:spMkLst>
        </pc:spChg>
        <pc:spChg chg="mod">
          <ac:chgData name="Mauricio Pena" userId="e8c94f7e-bc6e-4c95-ac94-d3ff72f76780" providerId="ADAL" clId="{DF9CD866-166D-4CBF-9B4A-37921AE04D82}" dt="2024-02-01T09:56:22.972" v="124" actId="404"/>
          <ac:spMkLst>
            <pc:docMk/>
            <pc:sldMk cId="7716683" sldId="2522"/>
            <ac:spMk id="6" creationId="{12A55244-6BBD-3CC0-ACDF-47D4610B081F}"/>
          </ac:spMkLst>
        </pc:spChg>
        <pc:picChg chg="mod">
          <ac:chgData name="Mauricio Pena" userId="e8c94f7e-bc6e-4c95-ac94-d3ff72f76780" providerId="ADAL" clId="{DF9CD866-166D-4CBF-9B4A-37921AE04D82}" dt="2024-02-01T10:03:13.966" v="127" actId="29295"/>
          <ac:picMkLst>
            <pc:docMk/>
            <pc:sldMk cId="7716683" sldId="2522"/>
            <ac:picMk id="5" creationId="{849B1DB3-ABE2-41EB-2AAD-57F4844462A0}"/>
          </ac:picMkLst>
        </pc:picChg>
      </pc:sldChg>
      <pc:sldChg chg="modSp mod">
        <pc:chgData name="Mauricio Pena" userId="e8c94f7e-bc6e-4c95-ac94-d3ff72f76780" providerId="ADAL" clId="{DF9CD866-166D-4CBF-9B4A-37921AE04D82}" dt="2024-03-04T10:16:25.179" v="689" actId="20577"/>
        <pc:sldMkLst>
          <pc:docMk/>
          <pc:sldMk cId="690354829" sldId="2529"/>
        </pc:sldMkLst>
        <pc:spChg chg="mod">
          <ac:chgData name="Mauricio Pena" userId="e8c94f7e-bc6e-4c95-ac94-d3ff72f76780" providerId="ADAL" clId="{DF9CD866-166D-4CBF-9B4A-37921AE04D82}" dt="2024-03-04T10:16:25.179" v="689" actId="20577"/>
          <ac:spMkLst>
            <pc:docMk/>
            <pc:sldMk cId="690354829" sldId="2529"/>
            <ac:spMk id="30" creationId="{D7D58870-CD42-8214-D742-2C13690708D7}"/>
          </ac:spMkLst>
        </pc:spChg>
      </pc:sldChg>
      <pc:sldChg chg="addSp modSp mod">
        <pc:chgData name="Mauricio Pena" userId="e8c94f7e-bc6e-4c95-ac94-d3ff72f76780" providerId="ADAL" clId="{DF9CD866-166D-4CBF-9B4A-37921AE04D82}" dt="2024-02-01T09:47:41.243" v="91" actId="108"/>
        <pc:sldMkLst>
          <pc:docMk/>
          <pc:sldMk cId="4167262605" sldId="2530"/>
        </pc:sldMkLst>
        <pc:spChg chg="mod">
          <ac:chgData name="Mauricio Pena" userId="e8c94f7e-bc6e-4c95-ac94-d3ff72f76780" providerId="ADAL" clId="{DF9CD866-166D-4CBF-9B4A-37921AE04D82}" dt="2024-02-01T09:41:23.073" v="53" actId="164"/>
          <ac:spMkLst>
            <pc:docMk/>
            <pc:sldMk cId="4167262605" sldId="2530"/>
            <ac:spMk id="3" creationId="{4082350C-0FD7-2CF3-676D-D04D446761D9}"/>
          </ac:spMkLst>
        </pc:spChg>
        <pc:spChg chg="mod">
          <ac:chgData name="Mauricio Pena" userId="e8c94f7e-bc6e-4c95-ac94-d3ff72f76780" providerId="ADAL" clId="{DF9CD866-166D-4CBF-9B4A-37921AE04D82}" dt="2024-02-01T09:42:10.704" v="63" actId="403"/>
          <ac:spMkLst>
            <pc:docMk/>
            <pc:sldMk cId="4167262605" sldId="2530"/>
            <ac:spMk id="4" creationId="{B7DA9801-0835-4143-95FD-E14093FEC971}"/>
          </ac:spMkLst>
        </pc:spChg>
        <pc:spChg chg="mod">
          <ac:chgData name="Mauricio Pena" userId="e8c94f7e-bc6e-4c95-ac94-d3ff72f76780" providerId="ADAL" clId="{DF9CD866-166D-4CBF-9B4A-37921AE04D82}" dt="2024-02-01T09:41:23.073" v="53" actId="164"/>
          <ac:spMkLst>
            <pc:docMk/>
            <pc:sldMk cId="4167262605" sldId="2530"/>
            <ac:spMk id="6" creationId="{636C2864-3C1E-583A-1393-783F534AB9C8}"/>
          </ac:spMkLst>
        </pc:spChg>
        <pc:spChg chg="mod">
          <ac:chgData name="Mauricio Pena" userId="e8c94f7e-bc6e-4c95-ac94-d3ff72f76780" providerId="ADAL" clId="{DF9CD866-166D-4CBF-9B4A-37921AE04D82}" dt="2024-02-01T09:41:23.073" v="53" actId="164"/>
          <ac:spMkLst>
            <pc:docMk/>
            <pc:sldMk cId="4167262605" sldId="2530"/>
            <ac:spMk id="7" creationId="{6D6E424D-B6FC-967F-BBF3-B728BCD60C62}"/>
          </ac:spMkLst>
        </pc:spChg>
        <pc:spChg chg="mod">
          <ac:chgData name="Mauricio Pena" userId="e8c94f7e-bc6e-4c95-ac94-d3ff72f76780" providerId="ADAL" clId="{DF9CD866-166D-4CBF-9B4A-37921AE04D82}" dt="2024-02-01T09:41:23.073" v="53" actId="164"/>
          <ac:spMkLst>
            <pc:docMk/>
            <pc:sldMk cId="4167262605" sldId="2530"/>
            <ac:spMk id="10" creationId="{17D6AC84-C52F-2B14-59AC-73980886B87A}"/>
          </ac:spMkLst>
        </pc:spChg>
        <pc:spChg chg="mod">
          <ac:chgData name="Mauricio Pena" userId="e8c94f7e-bc6e-4c95-ac94-d3ff72f76780" providerId="ADAL" clId="{DF9CD866-166D-4CBF-9B4A-37921AE04D82}" dt="2024-02-01T09:41:23.073" v="53" actId="164"/>
          <ac:spMkLst>
            <pc:docMk/>
            <pc:sldMk cId="4167262605" sldId="2530"/>
            <ac:spMk id="11" creationId="{5053563C-A71E-A12F-4FAE-56540300F020}"/>
          </ac:spMkLst>
        </pc:spChg>
        <pc:spChg chg="mod">
          <ac:chgData name="Mauricio Pena" userId="e8c94f7e-bc6e-4c95-ac94-d3ff72f76780" providerId="ADAL" clId="{DF9CD866-166D-4CBF-9B4A-37921AE04D82}" dt="2024-02-01T09:41:23.073" v="53" actId="164"/>
          <ac:spMkLst>
            <pc:docMk/>
            <pc:sldMk cId="4167262605" sldId="2530"/>
            <ac:spMk id="12" creationId="{ABBD6C16-1B56-F625-616E-73E87BB2EF8D}"/>
          </ac:spMkLst>
        </pc:spChg>
        <pc:spChg chg="mod">
          <ac:chgData name="Mauricio Pena" userId="e8c94f7e-bc6e-4c95-ac94-d3ff72f76780" providerId="ADAL" clId="{DF9CD866-166D-4CBF-9B4A-37921AE04D82}" dt="2024-02-01T09:41:23.073" v="53" actId="164"/>
          <ac:spMkLst>
            <pc:docMk/>
            <pc:sldMk cId="4167262605" sldId="2530"/>
            <ac:spMk id="14" creationId="{16FA6966-01E5-B19B-DEEF-93F73D46BCBB}"/>
          </ac:spMkLst>
        </pc:spChg>
        <pc:spChg chg="mod">
          <ac:chgData name="Mauricio Pena" userId="e8c94f7e-bc6e-4c95-ac94-d3ff72f76780" providerId="ADAL" clId="{DF9CD866-166D-4CBF-9B4A-37921AE04D82}" dt="2024-02-01T09:41:23.073" v="53" actId="164"/>
          <ac:spMkLst>
            <pc:docMk/>
            <pc:sldMk cId="4167262605" sldId="2530"/>
            <ac:spMk id="56" creationId="{925DB842-37D1-4115-97D2-20C87069CC34}"/>
          </ac:spMkLst>
        </pc:spChg>
        <pc:spChg chg="mod">
          <ac:chgData name="Mauricio Pena" userId="e8c94f7e-bc6e-4c95-ac94-d3ff72f76780" providerId="ADAL" clId="{DF9CD866-166D-4CBF-9B4A-37921AE04D82}" dt="2024-02-01T09:41:23.073" v="53" actId="164"/>
          <ac:spMkLst>
            <pc:docMk/>
            <pc:sldMk cId="4167262605" sldId="2530"/>
            <ac:spMk id="66" creationId="{3D831979-D07B-4422-BAC6-4B631015F64B}"/>
          </ac:spMkLst>
        </pc:spChg>
        <pc:spChg chg="mod">
          <ac:chgData name="Mauricio Pena" userId="e8c94f7e-bc6e-4c95-ac94-d3ff72f76780" providerId="ADAL" clId="{DF9CD866-166D-4CBF-9B4A-37921AE04D82}" dt="2024-02-01T09:47:41.243" v="91" actId="108"/>
          <ac:spMkLst>
            <pc:docMk/>
            <pc:sldMk cId="4167262605" sldId="2530"/>
            <ac:spMk id="67" creationId="{46D81B90-49B1-4C90-A06B-94DEFC5BE405}"/>
          </ac:spMkLst>
        </pc:spChg>
        <pc:grpChg chg="add mod">
          <ac:chgData name="Mauricio Pena" userId="e8c94f7e-bc6e-4c95-ac94-d3ff72f76780" providerId="ADAL" clId="{DF9CD866-166D-4CBF-9B4A-37921AE04D82}" dt="2024-02-01T09:41:43.045" v="57" actId="1036"/>
          <ac:grpSpMkLst>
            <pc:docMk/>
            <pc:sldMk cId="4167262605" sldId="2530"/>
            <ac:grpSpMk id="18" creationId="{D0C3424A-852D-CC08-F49F-401FE3F7B0F6}"/>
          </ac:grpSpMkLst>
        </pc:grpChg>
        <pc:picChg chg="mod">
          <ac:chgData name="Mauricio Pena" userId="e8c94f7e-bc6e-4c95-ac94-d3ff72f76780" providerId="ADAL" clId="{DF9CD866-166D-4CBF-9B4A-37921AE04D82}" dt="2024-02-01T09:41:23.073" v="53" actId="164"/>
          <ac:picMkLst>
            <pc:docMk/>
            <pc:sldMk cId="4167262605" sldId="2530"/>
            <ac:picMk id="8" creationId="{B23990CC-6E6A-260D-DEC0-CE93FF925040}"/>
          </ac:picMkLst>
        </pc:picChg>
        <pc:picChg chg="mod">
          <ac:chgData name="Mauricio Pena" userId="e8c94f7e-bc6e-4c95-ac94-d3ff72f76780" providerId="ADAL" clId="{DF9CD866-166D-4CBF-9B4A-37921AE04D82}" dt="2024-02-01T09:41:23.073" v="53" actId="164"/>
          <ac:picMkLst>
            <pc:docMk/>
            <pc:sldMk cId="4167262605" sldId="2530"/>
            <ac:picMk id="13" creationId="{ADCDC5B5-B1B7-9F15-8885-04B92E6558B1}"/>
          </ac:picMkLst>
        </pc:picChg>
        <pc:picChg chg="mod">
          <ac:chgData name="Mauricio Pena" userId="e8c94f7e-bc6e-4c95-ac94-d3ff72f76780" providerId="ADAL" clId="{DF9CD866-166D-4CBF-9B4A-37921AE04D82}" dt="2024-02-01T09:41:23.073" v="53" actId="164"/>
          <ac:picMkLst>
            <pc:docMk/>
            <pc:sldMk cId="4167262605" sldId="2530"/>
            <ac:picMk id="106" creationId="{0E29B963-F830-446A-B2C0-681D351380EE}"/>
          </ac:picMkLst>
        </pc:picChg>
        <pc:cxnChg chg="add mod">
          <ac:chgData name="Mauricio Pena" userId="e8c94f7e-bc6e-4c95-ac94-d3ff72f76780" providerId="ADAL" clId="{DF9CD866-166D-4CBF-9B4A-37921AE04D82}" dt="2024-02-01T09:41:23.073" v="53" actId="164"/>
          <ac:cxnSpMkLst>
            <pc:docMk/>
            <pc:sldMk cId="4167262605" sldId="2530"/>
            <ac:cxnSpMk id="16" creationId="{196D29F4-A259-7AAC-929A-901D898CBC6D}"/>
          </ac:cxnSpMkLst>
        </pc:cxnChg>
        <pc:cxnChg chg="add mod">
          <ac:chgData name="Mauricio Pena" userId="e8c94f7e-bc6e-4c95-ac94-d3ff72f76780" providerId="ADAL" clId="{DF9CD866-166D-4CBF-9B4A-37921AE04D82}" dt="2024-02-01T09:41:23.073" v="53" actId="164"/>
          <ac:cxnSpMkLst>
            <pc:docMk/>
            <pc:sldMk cId="4167262605" sldId="2530"/>
            <ac:cxnSpMk id="17" creationId="{644300FA-6F4B-6085-2925-D7E8B317A1F4}"/>
          </ac:cxnSpMkLst>
        </pc:cxnChg>
      </pc:sldChg>
      <pc:sldChg chg="addSp delSp modSp mod">
        <pc:chgData name="Mauricio Pena" userId="e8c94f7e-bc6e-4c95-ac94-d3ff72f76780" providerId="ADAL" clId="{DF9CD866-166D-4CBF-9B4A-37921AE04D82}" dt="2024-02-15T12:20:09.543" v="197" actId="164"/>
        <pc:sldMkLst>
          <pc:docMk/>
          <pc:sldMk cId="3512020223" sldId="2533"/>
        </pc:sldMkLst>
        <pc:spChg chg="mod">
          <ac:chgData name="Mauricio Pena" userId="e8c94f7e-bc6e-4c95-ac94-d3ff72f76780" providerId="ADAL" clId="{DF9CD866-166D-4CBF-9B4A-37921AE04D82}" dt="2024-02-15T12:20:09.543" v="197" actId="164"/>
          <ac:spMkLst>
            <pc:docMk/>
            <pc:sldMk cId="3512020223" sldId="2533"/>
            <ac:spMk id="3" creationId="{4082350C-0FD7-2CF3-676D-D04D446761D9}"/>
          </ac:spMkLst>
        </pc:spChg>
        <pc:spChg chg="mod">
          <ac:chgData name="Mauricio Pena" userId="e8c94f7e-bc6e-4c95-ac94-d3ff72f76780" providerId="ADAL" clId="{DF9CD866-166D-4CBF-9B4A-37921AE04D82}" dt="2024-02-01T09:39:00.739" v="42" actId="404"/>
          <ac:spMkLst>
            <pc:docMk/>
            <pc:sldMk cId="3512020223" sldId="2533"/>
            <ac:spMk id="4" creationId="{B7DA9801-0835-4143-95FD-E14093FEC971}"/>
          </ac:spMkLst>
        </pc:spChg>
        <pc:spChg chg="mod">
          <ac:chgData name="Mauricio Pena" userId="e8c94f7e-bc6e-4c95-ac94-d3ff72f76780" providerId="ADAL" clId="{DF9CD866-166D-4CBF-9B4A-37921AE04D82}" dt="2024-02-15T12:20:09.543" v="197" actId="164"/>
          <ac:spMkLst>
            <pc:docMk/>
            <pc:sldMk cId="3512020223" sldId="2533"/>
            <ac:spMk id="6" creationId="{A94A8A2F-4E2F-8D4C-F9C4-C176DF8B99A2}"/>
          </ac:spMkLst>
        </pc:spChg>
        <pc:spChg chg="mod">
          <ac:chgData name="Mauricio Pena" userId="e8c94f7e-bc6e-4c95-ac94-d3ff72f76780" providerId="ADAL" clId="{DF9CD866-166D-4CBF-9B4A-37921AE04D82}" dt="2024-02-15T12:20:09.543" v="197" actId="164"/>
          <ac:spMkLst>
            <pc:docMk/>
            <pc:sldMk cId="3512020223" sldId="2533"/>
            <ac:spMk id="8" creationId="{4596D989-D6E9-2D7D-441B-79C05215E694}"/>
          </ac:spMkLst>
        </pc:spChg>
        <pc:spChg chg="mod">
          <ac:chgData name="Mauricio Pena" userId="e8c94f7e-bc6e-4c95-ac94-d3ff72f76780" providerId="ADAL" clId="{DF9CD866-166D-4CBF-9B4A-37921AE04D82}" dt="2024-02-15T12:20:09.543" v="197" actId="164"/>
          <ac:spMkLst>
            <pc:docMk/>
            <pc:sldMk cId="3512020223" sldId="2533"/>
            <ac:spMk id="10" creationId="{28913F2D-D848-07FD-AD0C-3B413DC90E4E}"/>
          </ac:spMkLst>
        </pc:spChg>
        <pc:spChg chg="mod">
          <ac:chgData name="Mauricio Pena" userId="e8c94f7e-bc6e-4c95-ac94-d3ff72f76780" providerId="ADAL" clId="{DF9CD866-166D-4CBF-9B4A-37921AE04D82}" dt="2024-02-15T12:20:09.543" v="197" actId="164"/>
          <ac:spMkLst>
            <pc:docMk/>
            <pc:sldMk cId="3512020223" sldId="2533"/>
            <ac:spMk id="13" creationId="{8AD4082F-7CB5-2DDE-7136-17A23FD233DC}"/>
          </ac:spMkLst>
        </pc:spChg>
        <pc:spChg chg="mod">
          <ac:chgData name="Mauricio Pena" userId="e8c94f7e-bc6e-4c95-ac94-d3ff72f76780" providerId="ADAL" clId="{DF9CD866-166D-4CBF-9B4A-37921AE04D82}" dt="2024-02-15T12:20:09.543" v="197" actId="164"/>
          <ac:spMkLst>
            <pc:docMk/>
            <pc:sldMk cId="3512020223" sldId="2533"/>
            <ac:spMk id="56" creationId="{925DB842-37D1-4115-97D2-20C87069CC34}"/>
          </ac:spMkLst>
        </pc:spChg>
        <pc:spChg chg="mod">
          <ac:chgData name="Mauricio Pena" userId="e8c94f7e-bc6e-4c95-ac94-d3ff72f76780" providerId="ADAL" clId="{DF9CD866-166D-4CBF-9B4A-37921AE04D82}" dt="2024-02-15T12:20:09.543" v="197" actId="164"/>
          <ac:spMkLst>
            <pc:docMk/>
            <pc:sldMk cId="3512020223" sldId="2533"/>
            <ac:spMk id="57" creationId="{C2663665-9B22-4B68-82D7-634FD0D718E0}"/>
          </ac:spMkLst>
        </pc:spChg>
        <pc:spChg chg="mod">
          <ac:chgData name="Mauricio Pena" userId="e8c94f7e-bc6e-4c95-ac94-d3ff72f76780" providerId="ADAL" clId="{DF9CD866-166D-4CBF-9B4A-37921AE04D82}" dt="2024-02-15T12:20:09.543" v="197" actId="164"/>
          <ac:spMkLst>
            <pc:docMk/>
            <pc:sldMk cId="3512020223" sldId="2533"/>
            <ac:spMk id="58" creationId="{C3A9EE8E-EBC8-40E8-A7C4-EB5621D3DABC}"/>
          </ac:spMkLst>
        </pc:spChg>
        <pc:spChg chg="mod">
          <ac:chgData name="Mauricio Pena" userId="e8c94f7e-bc6e-4c95-ac94-d3ff72f76780" providerId="ADAL" clId="{DF9CD866-166D-4CBF-9B4A-37921AE04D82}" dt="2024-02-15T12:20:09.543" v="197" actId="164"/>
          <ac:spMkLst>
            <pc:docMk/>
            <pc:sldMk cId="3512020223" sldId="2533"/>
            <ac:spMk id="59" creationId="{CBF42CAE-8FD1-403C-A71F-CA56A9EE0447}"/>
          </ac:spMkLst>
        </pc:spChg>
        <pc:spChg chg="mod">
          <ac:chgData name="Mauricio Pena" userId="e8c94f7e-bc6e-4c95-ac94-d3ff72f76780" providerId="ADAL" clId="{DF9CD866-166D-4CBF-9B4A-37921AE04D82}" dt="2024-02-01T09:47:30.863" v="90" actId="404"/>
          <ac:spMkLst>
            <pc:docMk/>
            <pc:sldMk cId="3512020223" sldId="2533"/>
            <ac:spMk id="67" creationId="{46D81B90-49B1-4C90-A06B-94DEFC5BE405}"/>
          </ac:spMkLst>
        </pc:spChg>
        <pc:spChg chg="mod">
          <ac:chgData name="Mauricio Pena" userId="e8c94f7e-bc6e-4c95-ac94-d3ff72f76780" providerId="ADAL" clId="{DF9CD866-166D-4CBF-9B4A-37921AE04D82}" dt="2024-02-15T12:20:09.543" v="197" actId="164"/>
          <ac:spMkLst>
            <pc:docMk/>
            <pc:sldMk cId="3512020223" sldId="2533"/>
            <ac:spMk id="68" creationId="{28AFF06C-A63A-4A40-A0DB-6AAE5F7CC0FB}"/>
          </ac:spMkLst>
        </pc:spChg>
        <pc:spChg chg="mod">
          <ac:chgData name="Mauricio Pena" userId="e8c94f7e-bc6e-4c95-ac94-d3ff72f76780" providerId="ADAL" clId="{DF9CD866-166D-4CBF-9B4A-37921AE04D82}" dt="2024-02-15T12:20:09.543" v="197" actId="164"/>
          <ac:spMkLst>
            <pc:docMk/>
            <pc:sldMk cId="3512020223" sldId="2533"/>
            <ac:spMk id="84" creationId="{258D11DF-8BF5-4555-A8BE-C65DF9D11B9D}"/>
          </ac:spMkLst>
        </pc:spChg>
        <pc:spChg chg="mod">
          <ac:chgData name="Mauricio Pena" userId="e8c94f7e-bc6e-4c95-ac94-d3ff72f76780" providerId="ADAL" clId="{DF9CD866-166D-4CBF-9B4A-37921AE04D82}" dt="2024-02-15T12:20:09.543" v="197" actId="164"/>
          <ac:spMkLst>
            <pc:docMk/>
            <pc:sldMk cId="3512020223" sldId="2533"/>
            <ac:spMk id="85" creationId="{72C6BD19-160C-4ACA-B9DC-77A71A6E3198}"/>
          </ac:spMkLst>
        </pc:spChg>
        <pc:grpChg chg="add mod">
          <ac:chgData name="Mauricio Pena" userId="e8c94f7e-bc6e-4c95-ac94-d3ff72f76780" providerId="ADAL" clId="{DF9CD866-166D-4CBF-9B4A-37921AE04D82}" dt="2024-02-15T12:20:09.543" v="197" actId="164"/>
          <ac:grpSpMkLst>
            <pc:docMk/>
            <pc:sldMk cId="3512020223" sldId="2533"/>
            <ac:grpSpMk id="11" creationId="{BF64469B-B8A7-D240-8F6F-606F94F66F0C}"/>
          </ac:grpSpMkLst>
        </pc:grpChg>
        <pc:grpChg chg="del">
          <ac:chgData name="Mauricio Pena" userId="e8c94f7e-bc6e-4c95-ac94-d3ff72f76780" providerId="ADAL" clId="{DF9CD866-166D-4CBF-9B4A-37921AE04D82}" dt="2024-02-01T09:39:59.110" v="46" actId="165"/>
          <ac:grpSpMkLst>
            <pc:docMk/>
            <pc:sldMk cId="3512020223" sldId="2533"/>
            <ac:grpSpMk id="60" creationId="{58C77DFA-A2CA-45FD-9544-D45FCEFD5B0F}"/>
          </ac:grpSpMkLst>
        </pc:grpChg>
        <pc:picChg chg="mod">
          <ac:chgData name="Mauricio Pena" userId="e8c94f7e-bc6e-4c95-ac94-d3ff72f76780" providerId="ADAL" clId="{DF9CD866-166D-4CBF-9B4A-37921AE04D82}" dt="2024-02-15T12:20:09.543" v="197" actId="164"/>
          <ac:picMkLst>
            <pc:docMk/>
            <pc:sldMk cId="3512020223" sldId="2533"/>
            <ac:picMk id="9" creationId="{0573C45A-CEB8-9B00-5A5A-E5CA0C4171E5}"/>
          </ac:picMkLst>
        </pc:picChg>
        <pc:picChg chg="mod">
          <ac:chgData name="Mauricio Pena" userId="e8c94f7e-bc6e-4c95-ac94-d3ff72f76780" providerId="ADAL" clId="{DF9CD866-166D-4CBF-9B4A-37921AE04D82}" dt="2024-02-15T12:20:09.543" v="197" actId="164"/>
          <ac:picMkLst>
            <pc:docMk/>
            <pc:sldMk cId="3512020223" sldId="2533"/>
            <ac:picMk id="108" creationId="{6F5BE68D-4A64-416A-BC4A-77425D374F3D}"/>
          </ac:picMkLst>
        </pc:picChg>
        <pc:picChg chg="mod">
          <ac:chgData name="Mauricio Pena" userId="e8c94f7e-bc6e-4c95-ac94-d3ff72f76780" providerId="ADAL" clId="{DF9CD866-166D-4CBF-9B4A-37921AE04D82}" dt="2024-02-15T12:20:09.543" v="197" actId="164"/>
          <ac:picMkLst>
            <pc:docMk/>
            <pc:sldMk cId="3512020223" sldId="2533"/>
            <ac:picMk id="109" creationId="{4CF713F9-618F-46E0-BBA5-8C15CB461D37}"/>
          </ac:picMkLst>
        </pc:picChg>
        <pc:picChg chg="mod">
          <ac:chgData name="Mauricio Pena" userId="e8c94f7e-bc6e-4c95-ac94-d3ff72f76780" providerId="ADAL" clId="{DF9CD866-166D-4CBF-9B4A-37921AE04D82}" dt="2024-02-15T12:20:09.543" v="197" actId="164"/>
          <ac:picMkLst>
            <pc:docMk/>
            <pc:sldMk cId="3512020223" sldId="2533"/>
            <ac:picMk id="111" creationId="{EEC9B30A-1D3B-4E3B-8F1C-C54EC0F9CF4D}"/>
          </ac:picMkLst>
        </pc:picChg>
        <pc:cxnChg chg="mod topLvl">
          <ac:chgData name="Mauricio Pena" userId="e8c94f7e-bc6e-4c95-ac94-d3ff72f76780" providerId="ADAL" clId="{DF9CD866-166D-4CBF-9B4A-37921AE04D82}" dt="2024-02-15T12:20:09.543" v="197" actId="164"/>
          <ac:cxnSpMkLst>
            <pc:docMk/>
            <pc:sldMk cId="3512020223" sldId="2533"/>
            <ac:cxnSpMk id="61" creationId="{CF325144-0920-4C28-B175-22E182C0E139}"/>
          </ac:cxnSpMkLst>
        </pc:cxnChg>
        <pc:cxnChg chg="mod topLvl">
          <ac:chgData name="Mauricio Pena" userId="e8c94f7e-bc6e-4c95-ac94-d3ff72f76780" providerId="ADAL" clId="{DF9CD866-166D-4CBF-9B4A-37921AE04D82}" dt="2024-02-15T12:20:09.543" v="197" actId="164"/>
          <ac:cxnSpMkLst>
            <pc:docMk/>
            <pc:sldMk cId="3512020223" sldId="2533"/>
            <ac:cxnSpMk id="62" creationId="{2AD0081B-8449-462A-B4F5-2FA7BEF44EF7}"/>
          </ac:cxnSpMkLst>
        </pc:cxnChg>
        <pc:cxnChg chg="mod topLvl">
          <ac:chgData name="Mauricio Pena" userId="e8c94f7e-bc6e-4c95-ac94-d3ff72f76780" providerId="ADAL" clId="{DF9CD866-166D-4CBF-9B4A-37921AE04D82}" dt="2024-02-15T12:20:09.543" v="197" actId="164"/>
          <ac:cxnSpMkLst>
            <pc:docMk/>
            <pc:sldMk cId="3512020223" sldId="2533"/>
            <ac:cxnSpMk id="63" creationId="{DF3B4036-43C9-4925-B1FE-8DC524B9EF41}"/>
          </ac:cxnSpMkLst>
        </pc:cxnChg>
      </pc:sldChg>
      <pc:sldChg chg="addSp delSp modSp mod">
        <pc:chgData name="Mauricio Pena" userId="e8c94f7e-bc6e-4c95-ac94-d3ff72f76780" providerId="ADAL" clId="{DF9CD866-166D-4CBF-9B4A-37921AE04D82}" dt="2024-02-01T09:48:07.109" v="93" actId="108"/>
        <pc:sldMkLst>
          <pc:docMk/>
          <pc:sldMk cId="3868405425" sldId="2534"/>
        </pc:sldMkLst>
        <pc:spChg chg="mod topLvl">
          <ac:chgData name="Mauricio Pena" userId="e8c94f7e-bc6e-4c95-ac94-d3ff72f76780" providerId="ADAL" clId="{DF9CD866-166D-4CBF-9B4A-37921AE04D82}" dt="2024-02-01T09:44:44.209" v="78" actId="165"/>
          <ac:spMkLst>
            <pc:docMk/>
            <pc:sldMk cId="3868405425" sldId="2534"/>
            <ac:spMk id="3" creationId="{4082350C-0FD7-2CF3-676D-D04D446761D9}"/>
          </ac:spMkLst>
        </pc:spChg>
        <pc:spChg chg="mod">
          <ac:chgData name="Mauricio Pena" userId="e8c94f7e-bc6e-4c95-ac94-d3ff72f76780" providerId="ADAL" clId="{DF9CD866-166D-4CBF-9B4A-37921AE04D82}" dt="2024-02-01T09:42:28.260" v="67" actId="404"/>
          <ac:spMkLst>
            <pc:docMk/>
            <pc:sldMk cId="3868405425" sldId="2534"/>
            <ac:spMk id="4" creationId="{B7DA9801-0835-4143-95FD-E14093FEC971}"/>
          </ac:spMkLst>
        </pc:spChg>
        <pc:spChg chg="mod topLvl">
          <ac:chgData name="Mauricio Pena" userId="e8c94f7e-bc6e-4c95-ac94-d3ff72f76780" providerId="ADAL" clId="{DF9CD866-166D-4CBF-9B4A-37921AE04D82}" dt="2024-02-01T09:44:57.636" v="80" actId="1076"/>
          <ac:spMkLst>
            <pc:docMk/>
            <pc:sldMk cId="3868405425" sldId="2534"/>
            <ac:spMk id="6" creationId="{636C2864-3C1E-583A-1393-783F534AB9C8}"/>
          </ac:spMkLst>
        </pc:spChg>
        <pc:spChg chg="mod topLvl">
          <ac:chgData name="Mauricio Pena" userId="e8c94f7e-bc6e-4c95-ac94-d3ff72f76780" providerId="ADAL" clId="{DF9CD866-166D-4CBF-9B4A-37921AE04D82}" dt="2024-02-01T09:44:44.209" v="78" actId="165"/>
          <ac:spMkLst>
            <pc:docMk/>
            <pc:sldMk cId="3868405425" sldId="2534"/>
            <ac:spMk id="7" creationId="{6D6E424D-B6FC-967F-BBF3-B728BCD60C62}"/>
          </ac:spMkLst>
        </pc:spChg>
        <pc:spChg chg="mod topLvl">
          <ac:chgData name="Mauricio Pena" userId="e8c94f7e-bc6e-4c95-ac94-d3ff72f76780" providerId="ADAL" clId="{DF9CD866-166D-4CBF-9B4A-37921AE04D82}" dt="2024-02-01T09:44:44.209" v="78" actId="165"/>
          <ac:spMkLst>
            <pc:docMk/>
            <pc:sldMk cId="3868405425" sldId="2534"/>
            <ac:spMk id="10" creationId="{17D6AC84-C52F-2B14-59AC-73980886B87A}"/>
          </ac:spMkLst>
        </pc:spChg>
        <pc:spChg chg="mod topLvl">
          <ac:chgData name="Mauricio Pena" userId="e8c94f7e-bc6e-4c95-ac94-d3ff72f76780" providerId="ADAL" clId="{DF9CD866-166D-4CBF-9B4A-37921AE04D82}" dt="2024-02-01T09:45:03.028" v="81" actId="1076"/>
          <ac:spMkLst>
            <pc:docMk/>
            <pc:sldMk cId="3868405425" sldId="2534"/>
            <ac:spMk id="11" creationId="{5053563C-A71E-A12F-4FAE-56540300F020}"/>
          </ac:spMkLst>
        </pc:spChg>
        <pc:spChg chg="mod topLvl">
          <ac:chgData name="Mauricio Pena" userId="e8c94f7e-bc6e-4c95-ac94-d3ff72f76780" providerId="ADAL" clId="{DF9CD866-166D-4CBF-9B4A-37921AE04D82}" dt="2024-02-01T09:44:44.209" v="78" actId="165"/>
          <ac:spMkLst>
            <pc:docMk/>
            <pc:sldMk cId="3868405425" sldId="2534"/>
            <ac:spMk id="12" creationId="{ABBD6C16-1B56-F625-616E-73E87BB2EF8D}"/>
          </ac:spMkLst>
        </pc:spChg>
        <pc:spChg chg="mod topLvl">
          <ac:chgData name="Mauricio Pena" userId="e8c94f7e-bc6e-4c95-ac94-d3ff72f76780" providerId="ADAL" clId="{DF9CD866-166D-4CBF-9B4A-37921AE04D82}" dt="2024-02-01T09:44:44.209" v="78" actId="165"/>
          <ac:spMkLst>
            <pc:docMk/>
            <pc:sldMk cId="3868405425" sldId="2534"/>
            <ac:spMk id="14" creationId="{16FA6966-01E5-B19B-DEEF-93F73D46BCBB}"/>
          </ac:spMkLst>
        </pc:spChg>
        <pc:spChg chg="mod topLvl">
          <ac:chgData name="Mauricio Pena" userId="e8c94f7e-bc6e-4c95-ac94-d3ff72f76780" providerId="ADAL" clId="{DF9CD866-166D-4CBF-9B4A-37921AE04D82}" dt="2024-02-01T09:44:51.654" v="79" actId="1076"/>
          <ac:spMkLst>
            <pc:docMk/>
            <pc:sldMk cId="3868405425" sldId="2534"/>
            <ac:spMk id="56" creationId="{925DB842-37D1-4115-97D2-20C87069CC34}"/>
          </ac:spMkLst>
        </pc:spChg>
        <pc:spChg chg="mod topLvl">
          <ac:chgData name="Mauricio Pena" userId="e8c94f7e-bc6e-4c95-ac94-d3ff72f76780" providerId="ADAL" clId="{DF9CD866-166D-4CBF-9B4A-37921AE04D82}" dt="2024-02-01T09:44:44.209" v="78" actId="165"/>
          <ac:spMkLst>
            <pc:docMk/>
            <pc:sldMk cId="3868405425" sldId="2534"/>
            <ac:spMk id="66" creationId="{3D831979-D07B-4422-BAC6-4B631015F64B}"/>
          </ac:spMkLst>
        </pc:spChg>
        <pc:spChg chg="mod">
          <ac:chgData name="Mauricio Pena" userId="e8c94f7e-bc6e-4c95-ac94-d3ff72f76780" providerId="ADAL" clId="{DF9CD866-166D-4CBF-9B4A-37921AE04D82}" dt="2024-02-01T09:48:07.109" v="93" actId="108"/>
          <ac:spMkLst>
            <pc:docMk/>
            <pc:sldMk cId="3868405425" sldId="2534"/>
            <ac:spMk id="67" creationId="{46D81B90-49B1-4C90-A06B-94DEFC5BE405}"/>
          </ac:spMkLst>
        </pc:spChg>
        <pc:grpChg chg="add del mod">
          <ac:chgData name="Mauricio Pena" userId="e8c94f7e-bc6e-4c95-ac94-d3ff72f76780" providerId="ADAL" clId="{DF9CD866-166D-4CBF-9B4A-37921AE04D82}" dt="2024-02-01T09:44:44.209" v="78" actId="165"/>
          <ac:grpSpMkLst>
            <pc:docMk/>
            <pc:sldMk cId="3868405425" sldId="2534"/>
            <ac:grpSpMk id="18" creationId="{AD71409F-1A1A-905A-E452-D2FF9B0A5EE1}"/>
          </ac:grpSpMkLst>
        </pc:grpChg>
        <pc:picChg chg="mod topLvl">
          <ac:chgData name="Mauricio Pena" userId="e8c94f7e-bc6e-4c95-ac94-d3ff72f76780" providerId="ADAL" clId="{DF9CD866-166D-4CBF-9B4A-37921AE04D82}" dt="2024-02-01T09:45:14.332" v="82" actId="1076"/>
          <ac:picMkLst>
            <pc:docMk/>
            <pc:sldMk cId="3868405425" sldId="2534"/>
            <ac:picMk id="8" creationId="{B23990CC-6E6A-260D-DEC0-CE93FF925040}"/>
          </ac:picMkLst>
        </pc:picChg>
        <pc:picChg chg="mod topLvl">
          <ac:chgData name="Mauricio Pena" userId="e8c94f7e-bc6e-4c95-ac94-d3ff72f76780" providerId="ADAL" clId="{DF9CD866-166D-4CBF-9B4A-37921AE04D82}" dt="2024-02-01T09:44:44.209" v="78" actId="165"/>
          <ac:picMkLst>
            <pc:docMk/>
            <pc:sldMk cId="3868405425" sldId="2534"/>
            <ac:picMk id="13" creationId="{ADCDC5B5-B1B7-9F15-8885-04B92E6558B1}"/>
          </ac:picMkLst>
        </pc:picChg>
        <pc:picChg chg="mod topLvl">
          <ac:chgData name="Mauricio Pena" userId="e8c94f7e-bc6e-4c95-ac94-d3ff72f76780" providerId="ADAL" clId="{DF9CD866-166D-4CBF-9B4A-37921AE04D82}" dt="2024-02-01T09:45:24.648" v="83" actId="1076"/>
          <ac:picMkLst>
            <pc:docMk/>
            <pc:sldMk cId="3868405425" sldId="2534"/>
            <ac:picMk id="106" creationId="{0E29B963-F830-446A-B2C0-681D351380EE}"/>
          </ac:picMkLst>
        </pc:picChg>
        <pc:cxnChg chg="add mod topLvl">
          <ac:chgData name="Mauricio Pena" userId="e8c94f7e-bc6e-4c95-ac94-d3ff72f76780" providerId="ADAL" clId="{DF9CD866-166D-4CBF-9B4A-37921AE04D82}" dt="2024-02-01T09:44:44.209" v="78" actId="165"/>
          <ac:cxnSpMkLst>
            <pc:docMk/>
            <pc:sldMk cId="3868405425" sldId="2534"/>
            <ac:cxnSpMk id="16" creationId="{230A286D-D88A-791F-C6EA-791D4723205C}"/>
          </ac:cxnSpMkLst>
        </pc:cxnChg>
        <pc:cxnChg chg="add mod topLvl">
          <ac:chgData name="Mauricio Pena" userId="e8c94f7e-bc6e-4c95-ac94-d3ff72f76780" providerId="ADAL" clId="{DF9CD866-166D-4CBF-9B4A-37921AE04D82}" dt="2024-02-01T09:44:44.209" v="78" actId="165"/>
          <ac:cxnSpMkLst>
            <pc:docMk/>
            <pc:sldMk cId="3868405425" sldId="2534"/>
            <ac:cxnSpMk id="17" creationId="{03345711-DEB3-A14D-C3DA-E67554BC44F6}"/>
          </ac:cxnSpMkLst>
        </pc:cxnChg>
      </pc:sldChg>
      <pc:sldChg chg="addSp delSp modSp mod">
        <pc:chgData name="Mauricio Pena" userId="e8c94f7e-bc6e-4c95-ac94-d3ff72f76780" providerId="ADAL" clId="{DF9CD866-166D-4CBF-9B4A-37921AE04D82}" dt="2024-02-01T09:55:01.268" v="116" actId="20577"/>
        <pc:sldMkLst>
          <pc:docMk/>
          <pc:sldMk cId="1118589421" sldId="2535"/>
        </pc:sldMkLst>
        <pc:spChg chg="mod topLvl">
          <ac:chgData name="Mauricio Pena" userId="e8c94f7e-bc6e-4c95-ac94-d3ff72f76780" providerId="ADAL" clId="{DF9CD866-166D-4CBF-9B4A-37921AE04D82}" dt="2024-02-01T09:50:07.442" v="105" actId="165"/>
          <ac:spMkLst>
            <pc:docMk/>
            <pc:sldMk cId="1118589421" sldId="2535"/>
            <ac:spMk id="3" creationId="{4082350C-0FD7-2CF3-676D-D04D446761D9}"/>
          </ac:spMkLst>
        </pc:spChg>
        <pc:spChg chg="mod">
          <ac:chgData name="Mauricio Pena" userId="e8c94f7e-bc6e-4c95-ac94-d3ff72f76780" providerId="ADAL" clId="{DF9CD866-166D-4CBF-9B4A-37921AE04D82}" dt="2024-02-01T09:51:09.002" v="112" actId="404"/>
          <ac:spMkLst>
            <pc:docMk/>
            <pc:sldMk cId="1118589421" sldId="2535"/>
            <ac:spMk id="4" creationId="{B7DA9801-0835-4143-95FD-E14093FEC971}"/>
          </ac:spMkLst>
        </pc:spChg>
        <pc:spChg chg="mod topLvl">
          <ac:chgData name="Mauricio Pena" userId="e8c94f7e-bc6e-4c95-ac94-d3ff72f76780" providerId="ADAL" clId="{DF9CD866-166D-4CBF-9B4A-37921AE04D82}" dt="2024-02-01T09:50:19.614" v="107" actId="1076"/>
          <ac:spMkLst>
            <pc:docMk/>
            <pc:sldMk cId="1118589421" sldId="2535"/>
            <ac:spMk id="6" creationId="{636C2864-3C1E-583A-1393-783F534AB9C8}"/>
          </ac:spMkLst>
        </pc:spChg>
        <pc:spChg chg="mod topLvl">
          <ac:chgData name="Mauricio Pena" userId="e8c94f7e-bc6e-4c95-ac94-d3ff72f76780" providerId="ADAL" clId="{DF9CD866-166D-4CBF-9B4A-37921AE04D82}" dt="2024-02-01T09:55:01.268" v="116" actId="20577"/>
          <ac:spMkLst>
            <pc:docMk/>
            <pc:sldMk cId="1118589421" sldId="2535"/>
            <ac:spMk id="7" creationId="{6D6E424D-B6FC-967F-BBF3-B728BCD60C62}"/>
          </ac:spMkLst>
        </pc:spChg>
        <pc:spChg chg="mod topLvl">
          <ac:chgData name="Mauricio Pena" userId="e8c94f7e-bc6e-4c95-ac94-d3ff72f76780" providerId="ADAL" clId="{DF9CD866-166D-4CBF-9B4A-37921AE04D82}" dt="2024-02-01T09:50:07.442" v="105" actId="165"/>
          <ac:spMkLst>
            <pc:docMk/>
            <pc:sldMk cId="1118589421" sldId="2535"/>
            <ac:spMk id="10" creationId="{17D6AC84-C52F-2B14-59AC-73980886B87A}"/>
          </ac:spMkLst>
        </pc:spChg>
        <pc:spChg chg="mod topLvl">
          <ac:chgData name="Mauricio Pena" userId="e8c94f7e-bc6e-4c95-ac94-d3ff72f76780" providerId="ADAL" clId="{DF9CD866-166D-4CBF-9B4A-37921AE04D82}" dt="2024-02-01T09:50:15.777" v="106" actId="1076"/>
          <ac:spMkLst>
            <pc:docMk/>
            <pc:sldMk cId="1118589421" sldId="2535"/>
            <ac:spMk id="56" creationId="{925DB842-37D1-4115-97D2-20C87069CC34}"/>
          </ac:spMkLst>
        </pc:spChg>
        <pc:spChg chg="mod topLvl">
          <ac:chgData name="Mauricio Pena" userId="e8c94f7e-bc6e-4c95-ac94-d3ff72f76780" providerId="ADAL" clId="{DF9CD866-166D-4CBF-9B4A-37921AE04D82}" dt="2024-02-01T09:54:55.244" v="114" actId="20577"/>
          <ac:spMkLst>
            <pc:docMk/>
            <pc:sldMk cId="1118589421" sldId="2535"/>
            <ac:spMk id="66" creationId="{3D831979-D07B-4422-BAC6-4B631015F64B}"/>
          </ac:spMkLst>
        </pc:spChg>
        <pc:spChg chg="mod">
          <ac:chgData name="Mauricio Pena" userId="e8c94f7e-bc6e-4c95-ac94-d3ff72f76780" providerId="ADAL" clId="{DF9CD866-166D-4CBF-9B4A-37921AE04D82}" dt="2024-02-01T09:48:38.362" v="97" actId="108"/>
          <ac:spMkLst>
            <pc:docMk/>
            <pc:sldMk cId="1118589421" sldId="2535"/>
            <ac:spMk id="67" creationId="{46D81B90-49B1-4C90-A06B-94DEFC5BE405}"/>
          </ac:spMkLst>
        </pc:spChg>
        <pc:grpChg chg="add del mod">
          <ac:chgData name="Mauricio Pena" userId="e8c94f7e-bc6e-4c95-ac94-d3ff72f76780" providerId="ADAL" clId="{DF9CD866-166D-4CBF-9B4A-37921AE04D82}" dt="2024-02-01T09:50:07.442" v="105" actId="165"/>
          <ac:grpSpMkLst>
            <pc:docMk/>
            <pc:sldMk cId="1118589421" sldId="2535"/>
            <ac:grpSpMk id="12" creationId="{E1394011-14A2-E686-151F-CFEEA4BF3015}"/>
          </ac:grpSpMkLst>
        </pc:grpChg>
        <pc:picChg chg="mod topLvl">
          <ac:chgData name="Mauricio Pena" userId="e8c94f7e-bc6e-4c95-ac94-d3ff72f76780" providerId="ADAL" clId="{DF9CD866-166D-4CBF-9B4A-37921AE04D82}" dt="2024-02-01T09:50:07.442" v="105" actId="165"/>
          <ac:picMkLst>
            <pc:docMk/>
            <pc:sldMk cId="1118589421" sldId="2535"/>
            <ac:picMk id="8" creationId="{B23990CC-6E6A-260D-DEC0-CE93FF925040}"/>
          </ac:picMkLst>
        </pc:picChg>
        <pc:picChg chg="mod topLvl">
          <ac:chgData name="Mauricio Pena" userId="e8c94f7e-bc6e-4c95-ac94-d3ff72f76780" providerId="ADAL" clId="{DF9CD866-166D-4CBF-9B4A-37921AE04D82}" dt="2024-02-01T09:50:39.817" v="108" actId="1076"/>
          <ac:picMkLst>
            <pc:docMk/>
            <pc:sldMk cId="1118589421" sldId="2535"/>
            <ac:picMk id="106" creationId="{0E29B963-F830-446A-B2C0-681D351380EE}"/>
          </ac:picMkLst>
        </pc:picChg>
        <pc:cxnChg chg="add mod">
          <ac:chgData name="Mauricio Pena" userId="e8c94f7e-bc6e-4c95-ac94-d3ff72f76780" providerId="ADAL" clId="{DF9CD866-166D-4CBF-9B4A-37921AE04D82}" dt="2024-02-01T09:49:58.079" v="104" actId="1076"/>
          <ac:cxnSpMkLst>
            <pc:docMk/>
            <pc:sldMk cId="1118589421" sldId="2535"/>
            <ac:cxnSpMk id="11" creationId="{161AC6A8-C294-5C16-6D22-D843C1CCC842}"/>
          </ac:cxnSpMkLst>
        </pc:cxnChg>
      </pc:sldChg>
      <pc:sldChg chg="addSp delSp modSp add mod">
        <pc:chgData name="Mauricio Pena" userId="e8c94f7e-bc6e-4c95-ac94-d3ff72f76780" providerId="ADAL" clId="{DF9CD866-166D-4CBF-9B4A-37921AE04D82}" dt="2024-03-04T10:19:39.774" v="732" actId="1036"/>
        <pc:sldMkLst>
          <pc:docMk/>
          <pc:sldMk cId="2559025629" sldId="2536"/>
        </pc:sldMkLst>
        <pc:spChg chg="del">
          <ac:chgData name="Mauricio Pena" userId="e8c94f7e-bc6e-4c95-ac94-d3ff72f76780" providerId="ADAL" clId="{DF9CD866-166D-4CBF-9B4A-37921AE04D82}" dt="2024-02-15T12:19:14.676" v="192" actId="478"/>
          <ac:spMkLst>
            <pc:docMk/>
            <pc:sldMk cId="2559025629" sldId="2536"/>
            <ac:spMk id="3" creationId="{4082350C-0FD7-2CF3-676D-D04D446761D9}"/>
          </ac:spMkLst>
        </pc:spChg>
        <pc:spChg chg="del">
          <ac:chgData name="Mauricio Pena" userId="e8c94f7e-bc6e-4c95-ac94-d3ff72f76780" providerId="ADAL" clId="{DF9CD866-166D-4CBF-9B4A-37921AE04D82}" dt="2024-02-15T12:19:18.666" v="194" actId="478"/>
          <ac:spMkLst>
            <pc:docMk/>
            <pc:sldMk cId="2559025629" sldId="2536"/>
            <ac:spMk id="6" creationId="{636C2864-3C1E-583A-1393-783F534AB9C8}"/>
          </ac:spMkLst>
        </pc:spChg>
        <pc:spChg chg="add mod">
          <ac:chgData name="Mauricio Pena" userId="e8c94f7e-bc6e-4c95-ac94-d3ff72f76780" providerId="ADAL" clId="{DF9CD866-166D-4CBF-9B4A-37921AE04D82}" dt="2024-02-16T06:55:05.983" v="660" actId="571"/>
          <ac:spMkLst>
            <pc:docMk/>
            <pc:sldMk cId="2559025629" sldId="2536"/>
            <ac:spMk id="6" creationId="{91DA0845-0633-B383-593E-C993810950BF}"/>
          </ac:spMkLst>
        </pc:spChg>
        <pc:spChg chg="del mod">
          <ac:chgData name="Mauricio Pena" userId="e8c94f7e-bc6e-4c95-ac94-d3ff72f76780" providerId="ADAL" clId="{DF9CD866-166D-4CBF-9B4A-37921AE04D82}" dt="2024-02-15T12:19:12.131" v="190" actId="478"/>
          <ac:spMkLst>
            <pc:docMk/>
            <pc:sldMk cId="2559025629" sldId="2536"/>
            <ac:spMk id="7" creationId="{6D6E424D-B6FC-967F-BBF3-B728BCD60C62}"/>
          </ac:spMkLst>
        </pc:spChg>
        <pc:spChg chg="add mod">
          <ac:chgData name="Mauricio Pena" userId="e8c94f7e-bc6e-4c95-ac94-d3ff72f76780" providerId="ADAL" clId="{DF9CD866-166D-4CBF-9B4A-37921AE04D82}" dt="2024-02-16T06:55:05.983" v="660" actId="571"/>
          <ac:spMkLst>
            <pc:docMk/>
            <pc:sldMk cId="2559025629" sldId="2536"/>
            <ac:spMk id="8" creationId="{79623746-B81E-B3CE-2696-235AED61F116}"/>
          </ac:spMkLst>
        </pc:spChg>
        <pc:spChg chg="del">
          <ac:chgData name="Mauricio Pena" userId="e8c94f7e-bc6e-4c95-ac94-d3ff72f76780" providerId="ADAL" clId="{DF9CD866-166D-4CBF-9B4A-37921AE04D82}" dt="2024-02-15T12:19:16.150" v="193" actId="478"/>
          <ac:spMkLst>
            <pc:docMk/>
            <pc:sldMk cId="2559025629" sldId="2536"/>
            <ac:spMk id="10" creationId="{17D6AC84-C52F-2B14-59AC-73980886B87A}"/>
          </ac:spMkLst>
        </pc:spChg>
        <pc:spChg chg="add mod">
          <ac:chgData name="Mauricio Pena" userId="e8c94f7e-bc6e-4c95-ac94-d3ff72f76780" providerId="ADAL" clId="{DF9CD866-166D-4CBF-9B4A-37921AE04D82}" dt="2024-02-16T06:55:05.983" v="660" actId="571"/>
          <ac:spMkLst>
            <pc:docMk/>
            <pc:sldMk cId="2559025629" sldId="2536"/>
            <ac:spMk id="11" creationId="{4A0BE451-3367-4603-4643-CF69971B4D56}"/>
          </ac:spMkLst>
        </pc:spChg>
        <pc:spChg chg="add mod">
          <ac:chgData name="Mauricio Pena" userId="e8c94f7e-bc6e-4c95-ac94-d3ff72f76780" providerId="ADAL" clId="{DF9CD866-166D-4CBF-9B4A-37921AE04D82}" dt="2024-02-16T06:55:05.983" v="660" actId="571"/>
          <ac:spMkLst>
            <pc:docMk/>
            <pc:sldMk cId="2559025629" sldId="2536"/>
            <ac:spMk id="12" creationId="{F9EBBA1C-111A-E7A3-F62B-DB030ADEE6BE}"/>
          </ac:spMkLst>
        </pc:spChg>
        <pc:spChg chg="del mod topLvl">
          <ac:chgData name="Mauricio Pena" userId="e8c94f7e-bc6e-4c95-ac94-d3ff72f76780" providerId="ADAL" clId="{DF9CD866-166D-4CBF-9B4A-37921AE04D82}" dt="2024-02-15T12:35:46.099" v="296" actId="478"/>
          <ac:spMkLst>
            <pc:docMk/>
            <pc:sldMk cId="2559025629" sldId="2536"/>
            <ac:spMk id="13" creationId="{AC7BF53D-3FEA-1C99-6EA8-3E28201882C0}"/>
          </ac:spMkLst>
        </pc:spChg>
        <pc:spChg chg="mod topLvl">
          <ac:chgData name="Mauricio Pena" userId="e8c94f7e-bc6e-4c95-ac94-d3ff72f76780" providerId="ADAL" clId="{DF9CD866-166D-4CBF-9B4A-37921AE04D82}" dt="2024-03-04T10:19:19.989" v="723" actId="164"/>
          <ac:spMkLst>
            <pc:docMk/>
            <pc:sldMk cId="2559025629" sldId="2536"/>
            <ac:spMk id="14" creationId="{503F994B-84F5-8493-4D0B-C07231707692}"/>
          </ac:spMkLst>
        </pc:spChg>
        <pc:spChg chg="mod topLvl">
          <ac:chgData name="Mauricio Pena" userId="e8c94f7e-bc6e-4c95-ac94-d3ff72f76780" providerId="ADAL" clId="{DF9CD866-166D-4CBF-9B4A-37921AE04D82}" dt="2024-03-04T10:19:19.989" v="723" actId="164"/>
          <ac:spMkLst>
            <pc:docMk/>
            <pc:sldMk cId="2559025629" sldId="2536"/>
            <ac:spMk id="16" creationId="{D0F39484-5F18-22E4-DB4B-3DE41047D503}"/>
          </ac:spMkLst>
        </pc:spChg>
        <pc:spChg chg="del mod topLvl">
          <ac:chgData name="Mauricio Pena" userId="e8c94f7e-bc6e-4c95-ac94-d3ff72f76780" providerId="ADAL" clId="{DF9CD866-166D-4CBF-9B4A-37921AE04D82}" dt="2024-03-04T10:18:36.188" v="715" actId="21"/>
          <ac:spMkLst>
            <pc:docMk/>
            <pc:sldMk cId="2559025629" sldId="2536"/>
            <ac:spMk id="17" creationId="{A73EF02F-8E53-9143-4F54-25515DEDE8EB}"/>
          </ac:spMkLst>
        </pc:spChg>
        <pc:spChg chg="mod topLvl">
          <ac:chgData name="Mauricio Pena" userId="e8c94f7e-bc6e-4c95-ac94-d3ff72f76780" providerId="ADAL" clId="{DF9CD866-166D-4CBF-9B4A-37921AE04D82}" dt="2024-03-04T10:19:19.989" v="723" actId="164"/>
          <ac:spMkLst>
            <pc:docMk/>
            <pc:sldMk cId="2559025629" sldId="2536"/>
            <ac:spMk id="21" creationId="{0DC9C423-1773-01BF-AD75-00D028BF49A2}"/>
          </ac:spMkLst>
        </pc:spChg>
        <pc:spChg chg="mod topLvl">
          <ac:chgData name="Mauricio Pena" userId="e8c94f7e-bc6e-4c95-ac94-d3ff72f76780" providerId="ADAL" clId="{DF9CD866-166D-4CBF-9B4A-37921AE04D82}" dt="2024-03-04T10:19:19.989" v="723" actId="164"/>
          <ac:spMkLst>
            <pc:docMk/>
            <pc:sldMk cId="2559025629" sldId="2536"/>
            <ac:spMk id="22" creationId="{24CE4E00-1567-F638-4BB0-3B6E9193FC1C}"/>
          </ac:spMkLst>
        </pc:spChg>
        <pc:spChg chg="del mod topLvl">
          <ac:chgData name="Mauricio Pena" userId="e8c94f7e-bc6e-4c95-ac94-d3ff72f76780" providerId="ADAL" clId="{DF9CD866-166D-4CBF-9B4A-37921AE04D82}" dt="2024-03-04T10:18:36.188" v="715" actId="21"/>
          <ac:spMkLst>
            <pc:docMk/>
            <pc:sldMk cId="2559025629" sldId="2536"/>
            <ac:spMk id="23" creationId="{9EDEE91A-AA7F-7C6C-FB9E-59C56B70D07A}"/>
          </ac:spMkLst>
        </pc:spChg>
        <pc:spChg chg="mod topLvl">
          <ac:chgData name="Mauricio Pena" userId="e8c94f7e-bc6e-4c95-ac94-d3ff72f76780" providerId="ADAL" clId="{DF9CD866-166D-4CBF-9B4A-37921AE04D82}" dt="2024-03-04T10:19:19.989" v="723" actId="164"/>
          <ac:spMkLst>
            <pc:docMk/>
            <pc:sldMk cId="2559025629" sldId="2536"/>
            <ac:spMk id="27" creationId="{26DA4D04-7B67-78E4-D8BA-299BA859E7A7}"/>
          </ac:spMkLst>
        </pc:spChg>
        <pc:spChg chg="mod topLvl">
          <ac:chgData name="Mauricio Pena" userId="e8c94f7e-bc6e-4c95-ac94-d3ff72f76780" providerId="ADAL" clId="{DF9CD866-166D-4CBF-9B4A-37921AE04D82}" dt="2024-03-04T10:19:19.989" v="723" actId="164"/>
          <ac:spMkLst>
            <pc:docMk/>
            <pc:sldMk cId="2559025629" sldId="2536"/>
            <ac:spMk id="28" creationId="{BAB969C8-05C9-6EE6-FD6E-3F909855E439}"/>
          </ac:spMkLst>
        </pc:spChg>
        <pc:spChg chg="mod topLvl">
          <ac:chgData name="Mauricio Pena" userId="e8c94f7e-bc6e-4c95-ac94-d3ff72f76780" providerId="ADAL" clId="{DF9CD866-166D-4CBF-9B4A-37921AE04D82}" dt="2024-03-04T10:19:19.989" v="723" actId="164"/>
          <ac:spMkLst>
            <pc:docMk/>
            <pc:sldMk cId="2559025629" sldId="2536"/>
            <ac:spMk id="29" creationId="{C0C18F5F-3A9E-8D04-36F5-F5D5149A5E7A}"/>
          </ac:spMkLst>
        </pc:spChg>
        <pc:spChg chg="del mod topLvl">
          <ac:chgData name="Mauricio Pena" userId="e8c94f7e-bc6e-4c95-ac94-d3ff72f76780" providerId="ADAL" clId="{DF9CD866-166D-4CBF-9B4A-37921AE04D82}" dt="2024-03-04T10:18:36.188" v="715" actId="21"/>
          <ac:spMkLst>
            <pc:docMk/>
            <pc:sldMk cId="2559025629" sldId="2536"/>
            <ac:spMk id="30" creationId="{F640065D-8B4F-626A-8699-7EC0C4B2A5BE}"/>
          </ac:spMkLst>
        </pc:spChg>
        <pc:spChg chg="mod topLvl">
          <ac:chgData name="Mauricio Pena" userId="e8c94f7e-bc6e-4c95-ac94-d3ff72f76780" providerId="ADAL" clId="{DF9CD866-166D-4CBF-9B4A-37921AE04D82}" dt="2024-03-04T10:19:19.989" v="723" actId="164"/>
          <ac:spMkLst>
            <pc:docMk/>
            <pc:sldMk cId="2559025629" sldId="2536"/>
            <ac:spMk id="32" creationId="{64FDBE7B-7C8F-7BDC-2CF8-2AF57A53AF97}"/>
          </ac:spMkLst>
        </pc:spChg>
        <pc:spChg chg="add mod topLvl">
          <ac:chgData name="Mauricio Pena" userId="e8c94f7e-bc6e-4c95-ac94-d3ff72f76780" providerId="ADAL" clId="{DF9CD866-166D-4CBF-9B4A-37921AE04D82}" dt="2024-03-04T10:19:19.989" v="723" actId="164"/>
          <ac:spMkLst>
            <pc:docMk/>
            <pc:sldMk cId="2559025629" sldId="2536"/>
            <ac:spMk id="33" creationId="{5CCC23DA-A785-AF65-EF39-CD60653F4F58}"/>
          </ac:spMkLst>
        </pc:spChg>
        <pc:spChg chg="del">
          <ac:chgData name="Mauricio Pena" userId="e8c94f7e-bc6e-4c95-ac94-d3ff72f76780" providerId="ADAL" clId="{DF9CD866-166D-4CBF-9B4A-37921AE04D82}" dt="2024-02-15T12:19:20.651" v="195" actId="478"/>
          <ac:spMkLst>
            <pc:docMk/>
            <pc:sldMk cId="2559025629" sldId="2536"/>
            <ac:spMk id="56" creationId="{925DB842-37D1-4115-97D2-20C87069CC34}"/>
          </ac:spMkLst>
        </pc:spChg>
        <pc:spChg chg="del">
          <ac:chgData name="Mauricio Pena" userId="e8c94f7e-bc6e-4c95-ac94-d3ff72f76780" providerId="ADAL" clId="{DF9CD866-166D-4CBF-9B4A-37921AE04D82}" dt="2024-02-15T12:19:13.173" v="191" actId="478"/>
          <ac:spMkLst>
            <pc:docMk/>
            <pc:sldMk cId="2559025629" sldId="2536"/>
            <ac:spMk id="66" creationId="{3D831979-D07B-4422-BAC6-4B631015F64B}"/>
          </ac:spMkLst>
        </pc:spChg>
        <pc:spChg chg="mod">
          <ac:chgData name="Mauricio Pena" userId="e8c94f7e-bc6e-4c95-ac94-d3ff72f76780" providerId="ADAL" clId="{DF9CD866-166D-4CBF-9B4A-37921AE04D82}" dt="2024-02-15T12:18:22.312" v="186" actId="20577"/>
          <ac:spMkLst>
            <pc:docMk/>
            <pc:sldMk cId="2559025629" sldId="2536"/>
            <ac:spMk id="67" creationId="{46D81B90-49B1-4C90-A06B-94DEFC5BE405}"/>
          </ac:spMkLst>
        </pc:spChg>
        <pc:grpChg chg="add mod">
          <ac:chgData name="Mauricio Pena" userId="e8c94f7e-bc6e-4c95-ac94-d3ff72f76780" providerId="ADAL" clId="{DF9CD866-166D-4CBF-9B4A-37921AE04D82}" dt="2024-03-04T10:19:39.774" v="732" actId="1036"/>
          <ac:grpSpMkLst>
            <pc:docMk/>
            <pc:sldMk cId="2559025629" sldId="2536"/>
            <ac:grpSpMk id="6" creationId="{845B61C4-3706-869E-2D4F-42A681C63BAC}"/>
          </ac:grpSpMkLst>
        </pc:grpChg>
        <pc:grpChg chg="add del mod">
          <ac:chgData name="Mauricio Pena" userId="e8c94f7e-bc6e-4c95-ac94-d3ff72f76780" providerId="ADAL" clId="{DF9CD866-166D-4CBF-9B4A-37921AE04D82}" dt="2024-02-15T12:20:49.837" v="200" actId="165"/>
          <ac:grpSpMkLst>
            <pc:docMk/>
            <pc:sldMk cId="2559025629" sldId="2536"/>
            <ac:grpSpMk id="12" creationId="{E58EDFC9-2AFF-F257-6231-27591C127E63}"/>
          </ac:grpSpMkLst>
        </pc:grpChg>
        <pc:grpChg chg="add del mod">
          <ac:chgData name="Mauricio Pena" userId="e8c94f7e-bc6e-4c95-ac94-d3ff72f76780" providerId="ADAL" clId="{DF9CD866-166D-4CBF-9B4A-37921AE04D82}" dt="2024-02-16T08:44:26.824" v="670" actId="165"/>
          <ac:grpSpMkLst>
            <pc:docMk/>
            <pc:sldMk cId="2559025629" sldId="2536"/>
            <ac:grpSpMk id="13" creationId="{E6136FB4-8AE0-1353-304A-1AB177520EED}"/>
          </ac:grpSpMkLst>
        </pc:grpChg>
        <pc:picChg chg="add del mod topLvl">
          <ac:chgData name="Mauricio Pena" userId="e8c94f7e-bc6e-4c95-ac94-d3ff72f76780" providerId="ADAL" clId="{DF9CD866-166D-4CBF-9B4A-37921AE04D82}" dt="2024-03-04T10:18:36.188" v="715" actId="21"/>
          <ac:picMkLst>
            <pc:docMk/>
            <pc:sldMk cId="2559025629" sldId="2536"/>
            <ac:picMk id="3" creationId="{7D921236-074A-0A0F-AA9E-019E4AE5FC14}"/>
          </ac:picMkLst>
        </pc:picChg>
        <pc:picChg chg="del">
          <ac:chgData name="Mauricio Pena" userId="e8c94f7e-bc6e-4c95-ac94-d3ff72f76780" providerId="ADAL" clId="{DF9CD866-166D-4CBF-9B4A-37921AE04D82}" dt="2024-02-15T12:19:09.554" v="188" actId="478"/>
          <ac:picMkLst>
            <pc:docMk/>
            <pc:sldMk cId="2559025629" sldId="2536"/>
            <ac:picMk id="8" creationId="{B23990CC-6E6A-260D-DEC0-CE93FF925040}"/>
          </ac:picMkLst>
        </pc:picChg>
        <pc:picChg chg="add mod">
          <ac:chgData name="Mauricio Pena" userId="e8c94f7e-bc6e-4c95-ac94-d3ff72f76780" providerId="ADAL" clId="{DF9CD866-166D-4CBF-9B4A-37921AE04D82}" dt="2024-02-16T06:55:05.983" v="660" actId="571"/>
          <ac:picMkLst>
            <pc:docMk/>
            <pc:sldMk cId="2559025629" sldId="2536"/>
            <ac:picMk id="10" creationId="{258F6661-A51E-2540-1778-855744657ACF}"/>
          </ac:picMkLst>
        </pc:picChg>
        <pc:picChg chg="del mod topLvl">
          <ac:chgData name="Mauricio Pena" userId="e8c94f7e-bc6e-4c95-ac94-d3ff72f76780" providerId="ADAL" clId="{DF9CD866-166D-4CBF-9B4A-37921AE04D82}" dt="2024-02-15T12:37:56.562" v="333" actId="478"/>
          <ac:picMkLst>
            <pc:docMk/>
            <pc:sldMk cId="2559025629" sldId="2536"/>
            <ac:picMk id="24" creationId="{CF0EDCC8-A0E8-2206-1843-D0A29C332AFF}"/>
          </ac:picMkLst>
        </pc:picChg>
        <pc:picChg chg="del mod topLvl">
          <ac:chgData name="Mauricio Pena" userId="e8c94f7e-bc6e-4c95-ac94-d3ff72f76780" providerId="ADAL" clId="{DF9CD866-166D-4CBF-9B4A-37921AE04D82}" dt="2024-02-15T12:37:57.134" v="334" actId="478"/>
          <ac:picMkLst>
            <pc:docMk/>
            <pc:sldMk cId="2559025629" sldId="2536"/>
            <ac:picMk id="25" creationId="{11A6E75A-632F-7D2B-E6DC-31E3FECA7E0F}"/>
          </ac:picMkLst>
        </pc:picChg>
        <pc:picChg chg="del mod topLvl">
          <ac:chgData name="Mauricio Pena" userId="e8c94f7e-bc6e-4c95-ac94-d3ff72f76780" providerId="ADAL" clId="{DF9CD866-166D-4CBF-9B4A-37921AE04D82}" dt="2024-02-15T12:37:57.756" v="335" actId="478"/>
          <ac:picMkLst>
            <pc:docMk/>
            <pc:sldMk cId="2559025629" sldId="2536"/>
            <ac:picMk id="26" creationId="{F700B8B5-2F61-E7A4-0FEC-C139124CC767}"/>
          </ac:picMkLst>
        </pc:picChg>
        <pc:picChg chg="mod topLvl">
          <ac:chgData name="Mauricio Pena" userId="e8c94f7e-bc6e-4c95-ac94-d3ff72f76780" providerId="ADAL" clId="{DF9CD866-166D-4CBF-9B4A-37921AE04D82}" dt="2024-03-04T10:19:19.989" v="723" actId="164"/>
          <ac:picMkLst>
            <pc:docMk/>
            <pc:sldMk cId="2559025629" sldId="2536"/>
            <ac:picMk id="31" creationId="{730A44C0-4977-C9F3-2099-255A4FB3D6E9}"/>
          </ac:picMkLst>
        </pc:picChg>
        <pc:picChg chg="add mod topLvl">
          <ac:chgData name="Mauricio Pena" userId="e8c94f7e-bc6e-4c95-ac94-d3ff72f76780" providerId="ADAL" clId="{DF9CD866-166D-4CBF-9B4A-37921AE04D82}" dt="2024-03-04T10:19:19.989" v="723" actId="164"/>
          <ac:picMkLst>
            <pc:docMk/>
            <pc:sldMk cId="2559025629" sldId="2536"/>
            <ac:picMk id="34" creationId="{ACBB51B1-963F-2FD0-BEF2-BCBD72CBA79E}"/>
          </ac:picMkLst>
        </pc:picChg>
        <pc:picChg chg="add mod topLvl">
          <ac:chgData name="Mauricio Pena" userId="e8c94f7e-bc6e-4c95-ac94-d3ff72f76780" providerId="ADAL" clId="{DF9CD866-166D-4CBF-9B4A-37921AE04D82}" dt="2024-03-04T10:19:19.989" v="723" actId="164"/>
          <ac:picMkLst>
            <pc:docMk/>
            <pc:sldMk cId="2559025629" sldId="2536"/>
            <ac:picMk id="35" creationId="{B7F89776-7648-017D-9295-778EE37A099B}"/>
          </ac:picMkLst>
        </pc:picChg>
        <pc:picChg chg="del">
          <ac:chgData name="Mauricio Pena" userId="e8c94f7e-bc6e-4c95-ac94-d3ff72f76780" providerId="ADAL" clId="{DF9CD866-166D-4CBF-9B4A-37921AE04D82}" dt="2024-02-15T12:19:08.919" v="187" actId="478"/>
          <ac:picMkLst>
            <pc:docMk/>
            <pc:sldMk cId="2559025629" sldId="2536"/>
            <ac:picMk id="106" creationId="{0E29B963-F830-446A-B2C0-681D351380EE}"/>
          </ac:picMkLst>
        </pc:picChg>
        <pc:cxnChg chg="add mod">
          <ac:chgData name="Mauricio Pena" userId="e8c94f7e-bc6e-4c95-ac94-d3ff72f76780" providerId="ADAL" clId="{DF9CD866-166D-4CBF-9B4A-37921AE04D82}" dt="2024-02-16T06:55:05.983" v="660" actId="571"/>
          <ac:cxnSpMkLst>
            <pc:docMk/>
            <pc:sldMk cId="2559025629" sldId="2536"/>
            <ac:cxnSpMk id="7" creationId="{15C74D83-20A2-AE78-5420-C947AA78CFBF}"/>
          </ac:cxnSpMkLst>
        </pc:cxnChg>
        <pc:cxnChg chg="del">
          <ac:chgData name="Mauricio Pena" userId="e8c94f7e-bc6e-4c95-ac94-d3ff72f76780" providerId="ADAL" clId="{DF9CD866-166D-4CBF-9B4A-37921AE04D82}" dt="2024-02-15T12:19:22.038" v="196" actId="478"/>
          <ac:cxnSpMkLst>
            <pc:docMk/>
            <pc:sldMk cId="2559025629" sldId="2536"/>
            <ac:cxnSpMk id="11" creationId="{161AC6A8-C294-5C16-6D22-D843C1CCC842}"/>
          </ac:cxnSpMkLst>
        </pc:cxnChg>
        <pc:cxnChg chg="mod topLvl">
          <ac:chgData name="Mauricio Pena" userId="e8c94f7e-bc6e-4c95-ac94-d3ff72f76780" providerId="ADAL" clId="{DF9CD866-166D-4CBF-9B4A-37921AE04D82}" dt="2024-03-04T10:19:19.989" v="723" actId="164"/>
          <ac:cxnSpMkLst>
            <pc:docMk/>
            <pc:sldMk cId="2559025629" sldId="2536"/>
            <ac:cxnSpMk id="18" creationId="{9CC91487-A271-DAE0-74A8-508DF90A772A}"/>
          </ac:cxnSpMkLst>
        </pc:cxnChg>
        <pc:cxnChg chg="mod topLvl">
          <ac:chgData name="Mauricio Pena" userId="e8c94f7e-bc6e-4c95-ac94-d3ff72f76780" providerId="ADAL" clId="{DF9CD866-166D-4CBF-9B4A-37921AE04D82}" dt="2024-03-04T10:19:19.989" v="723" actId="164"/>
          <ac:cxnSpMkLst>
            <pc:docMk/>
            <pc:sldMk cId="2559025629" sldId="2536"/>
            <ac:cxnSpMk id="19" creationId="{67BF26AB-551E-CA5B-80CE-2E3F4391F19A}"/>
          </ac:cxnSpMkLst>
        </pc:cxnChg>
        <pc:cxnChg chg="del mod topLvl">
          <ac:chgData name="Mauricio Pena" userId="e8c94f7e-bc6e-4c95-ac94-d3ff72f76780" providerId="ADAL" clId="{DF9CD866-166D-4CBF-9B4A-37921AE04D82}" dt="2024-03-04T10:19:00.573" v="722" actId="478"/>
          <ac:cxnSpMkLst>
            <pc:docMk/>
            <pc:sldMk cId="2559025629" sldId="2536"/>
            <ac:cxnSpMk id="20" creationId="{11C69860-AB1A-A8A3-D521-7399068AEDA3}"/>
          </ac:cxnSpMkLst>
        </pc:cxnChg>
      </pc:sldChg>
      <pc:sldChg chg="addSp delSp modSp add mod">
        <pc:chgData name="Mauricio Pena" userId="e8c94f7e-bc6e-4c95-ac94-d3ff72f76780" providerId="ADAL" clId="{DF9CD866-166D-4CBF-9B4A-37921AE04D82}" dt="2024-03-04T10:31:37.526" v="942" actId="1076"/>
        <pc:sldMkLst>
          <pc:docMk/>
          <pc:sldMk cId="3421015710" sldId="2537"/>
        </pc:sldMkLst>
        <pc:spChg chg="add mod">
          <ac:chgData name="Mauricio Pena" userId="e8c94f7e-bc6e-4c95-ac94-d3ff72f76780" providerId="ADAL" clId="{DF9CD866-166D-4CBF-9B4A-37921AE04D82}" dt="2024-03-04T10:31:29.336" v="941" actId="164"/>
          <ac:spMkLst>
            <pc:docMk/>
            <pc:sldMk cId="3421015710" sldId="2537"/>
            <ac:spMk id="6" creationId="{A73EF02F-8E53-9143-4F54-25515DEDE8EB}"/>
          </ac:spMkLst>
        </pc:spChg>
        <pc:spChg chg="add mod">
          <ac:chgData name="Mauricio Pena" userId="e8c94f7e-bc6e-4c95-ac94-d3ff72f76780" providerId="ADAL" clId="{DF9CD866-166D-4CBF-9B4A-37921AE04D82}" dt="2024-03-04T10:31:29.336" v="941" actId="164"/>
          <ac:spMkLst>
            <pc:docMk/>
            <pc:sldMk cId="3421015710" sldId="2537"/>
            <ac:spMk id="7" creationId="{9EDEE91A-AA7F-7C6C-FB9E-59C56B70D07A}"/>
          </ac:spMkLst>
        </pc:spChg>
        <pc:spChg chg="add mod">
          <ac:chgData name="Mauricio Pena" userId="e8c94f7e-bc6e-4c95-ac94-d3ff72f76780" providerId="ADAL" clId="{DF9CD866-166D-4CBF-9B4A-37921AE04D82}" dt="2024-03-04T10:31:29.336" v="941" actId="164"/>
          <ac:spMkLst>
            <pc:docMk/>
            <pc:sldMk cId="3421015710" sldId="2537"/>
            <ac:spMk id="8" creationId="{F640065D-8B4F-626A-8699-7EC0C4B2A5BE}"/>
          </ac:spMkLst>
        </pc:spChg>
        <pc:spChg chg="add mod">
          <ac:chgData name="Mauricio Pena" userId="e8c94f7e-bc6e-4c95-ac94-d3ff72f76780" providerId="ADAL" clId="{DF9CD866-166D-4CBF-9B4A-37921AE04D82}" dt="2024-03-04T10:31:29.336" v="941" actId="164"/>
          <ac:spMkLst>
            <pc:docMk/>
            <pc:sldMk cId="3421015710" sldId="2537"/>
            <ac:spMk id="12" creationId="{8FA04476-C150-3867-6538-133F0D0FA548}"/>
          </ac:spMkLst>
        </pc:spChg>
        <pc:spChg chg="del">
          <ac:chgData name="Mauricio Pena" userId="e8c94f7e-bc6e-4c95-ac94-d3ff72f76780" providerId="ADAL" clId="{DF9CD866-166D-4CBF-9B4A-37921AE04D82}" dt="2024-03-04T10:18:04.173" v="704" actId="478"/>
          <ac:spMkLst>
            <pc:docMk/>
            <pc:sldMk cId="3421015710" sldId="2537"/>
            <ac:spMk id="14" creationId="{503F994B-84F5-8493-4D0B-C07231707692}"/>
          </ac:spMkLst>
        </pc:spChg>
        <pc:spChg chg="del">
          <ac:chgData name="Mauricio Pena" userId="e8c94f7e-bc6e-4c95-ac94-d3ff72f76780" providerId="ADAL" clId="{DF9CD866-166D-4CBF-9B4A-37921AE04D82}" dt="2024-03-04T10:17:52.725" v="697" actId="478"/>
          <ac:spMkLst>
            <pc:docMk/>
            <pc:sldMk cId="3421015710" sldId="2537"/>
            <ac:spMk id="16" creationId="{D0F39484-5F18-22E4-DB4B-3DE41047D503}"/>
          </ac:spMkLst>
        </pc:spChg>
        <pc:spChg chg="del">
          <ac:chgData name="Mauricio Pena" userId="e8c94f7e-bc6e-4c95-ac94-d3ff72f76780" providerId="ADAL" clId="{DF9CD866-166D-4CBF-9B4A-37921AE04D82}" dt="2024-03-04T10:17:19.114" v="691" actId="478"/>
          <ac:spMkLst>
            <pc:docMk/>
            <pc:sldMk cId="3421015710" sldId="2537"/>
            <ac:spMk id="17" creationId="{A73EF02F-8E53-9143-4F54-25515DEDE8EB}"/>
          </ac:spMkLst>
        </pc:spChg>
        <pc:spChg chg="del">
          <ac:chgData name="Mauricio Pena" userId="e8c94f7e-bc6e-4c95-ac94-d3ff72f76780" providerId="ADAL" clId="{DF9CD866-166D-4CBF-9B4A-37921AE04D82}" dt="2024-03-04T10:18:06.783" v="706" actId="478"/>
          <ac:spMkLst>
            <pc:docMk/>
            <pc:sldMk cId="3421015710" sldId="2537"/>
            <ac:spMk id="21" creationId="{0DC9C423-1773-01BF-AD75-00D028BF49A2}"/>
          </ac:spMkLst>
        </pc:spChg>
        <pc:spChg chg="del mod">
          <ac:chgData name="Mauricio Pena" userId="e8c94f7e-bc6e-4c95-ac94-d3ff72f76780" providerId="ADAL" clId="{DF9CD866-166D-4CBF-9B4A-37921AE04D82}" dt="2024-03-04T10:17:57.199" v="700" actId="478"/>
          <ac:spMkLst>
            <pc:docMk/>
            <pc:sldMk cId="3421015710" sldId="2537"/>
            <ac:spMk id="22" creationId="{24CE4E00-1567-F638-4BB0-3B6E9193FC1C}"/>
          </ac:spMkLst>
        </pc:spChg>
        <pc:spChg chg="del mod">
          <ac:chgData name="Mauricio Pena" userId="e8c94f7e-bc6e-4c95-ac94-d3ff72f76780" providerId="ADAL" clId="{DF9CD866-166D-4CBF-9B4A-37921AE04D82}" dt="2024-03-04T10:17:44.067" v="695" actId="478"/>
          <ac:spMkLst>
            <pc:docMk/>
            <pc:sldMk cId="3421015710" sldId="2537"/>
            <ac:spMk id="23" creationId="{9EDEE91A-AA7F-7C6C-FB9E-59C56B70D07A}"/>
          </ac:spMkLst>
        </pc:spChg>
        <pc:spChg chg="add mod">
          <ac:chgData name="Mauricio Pena" userId="e8c94f7e-bc6e-4c95-ac94-d3ff72f76780" providerId="ADAL" clId="{DF9CD866-166D-4CBF-9B4A-37921AE04D82}" dt="2024-03-04T10:31:29.336" v="941" actId="164"/>
          <ac:spMkLst>
            <pc:docMk/>
            <pc:sldMk cId="3421015710" sldId="2537"/>
            <ac:spMk id="24" creationId="{EB00DDC5-4D27-863A-4F50-911F2DA1DAE9}"/>
          </ac:spMkLst>
        </pc:spChg>
        <pc:spChg chg="add mod">
          <ac:chgData name="Mauricio Pena" userId="e8c94f7e-bc6e-4c95-ac94-d3ff72f76780" providerId="ADAL" clId="{DF9CD866-166D-4CBF-9B4A-37921AE04D82}" dt="2024-03-04T10:31:29.336" v="941" actId="164"/>
          <ac:spMkLst>
            <pc:docMk/>
            <pc:sldMk cId="3421015710" sldId="2537"/>
            <ac:spMk id="25" creationId="{CE249113-0CA4-94C8-8E91-A8D715BDF35A}"/>
          </ac:spMkLst>
        </pc:spChg>
        <pc:spChg chg="add mod">
          <ac:chgData name="Mauricio Pena" userId="e8c94f7e-bc6e-4c95-ac94-d3ff72f76780" providerId="ADAL" clId="{DF9CD866-166D-4CBF-9B4A-37921AE04D82}" dt="2024-03-04T10:31:29.336" v="941" actId="164"/>
          <ac:spMkLst>
            <pc:docMk/>
            <pc:sldMk cId="3421015710" sldId="2537"/>
            <ac:spMk id="26" creationId="{F3AAEB41-15BE-F730-F991-ADA9EAB1F0D3}"/>
          </ac:spMkLst>
        </pc:spChg>
        <pc:spChg chg="del">
          <ac:chgData name="Mauricio Pena" userId="e8c94f7e-bc6e-4c95-ac94-d3ff72f76780" providerId="ADAL" clId="{DF9CD866-166D-4CBF-9B4A-37921AE04D82}" dt="2024-03-04T10:18:18.036" v="714" actId="478"/>
          <ac:spMkLst>
            <pc:docMk/>
            <pc:sldMk cId="3421015710" sldId="2537"/>
            <ac:spMk id="27" creationId="{26DA4D04-7B67-78E4-D8BA-299BA859E7A7}"/>
          </ac:spMkLst>
        </pc:spChg>
        <pc:spChg chg="del">
          <ac:chgData name="Mauricio Pena" userId="e8c94f7e-bc6e-4c95-ac94-d3ff72f76780" providerId="ADAL" clId="{DF9CD866-166D-4CBF-9B4A-37921AE04D82}" dt="2024-03-04T10:18:09.788" v="707" actId="478"/>
          <ac:spMkLst>
            <pc:docMk/>
            <pc:sldMk cId="3421015710" sldId="2537"/>
            <ac:spMk id="28" creationId="{BAB969C8-05C9-6EE6-FD6E-3F909855E439}"/>
          </ac:spMkLst>
        </pc:spChg>
        <pc:spChg chg="del mod">
          <ac:chgData name="Mauricio Pena" userId="e8c94f7e-bc6e-4c95-ac94-d3ff72f76780" providerId="ADAL" clId="{DF9CD866-166D-4CBF-9B4A-37921AE04D82}" dt="2024-03-04T10:18:01.037" v="703" actId="478"/>
          <ac:spMkLst>
            <pc:docMk/>
            <pc:sldMk cId="3421015710" sldId="2537"/>
            <ac:spMk id="29" creationId="{C0C18F5F-3A9E-8D04-36F5-F5D5149A5E7A}"/>
          </ac:spMkLst>
        </pc:spChg>
        <pc:spChg chg="del mod">
          <ac:chgData name="Mauricio Pena" userId="e8c94f7e-bc6e-4c95-ac94-d3ff72f76780" providerId="ADAL" clId="{DF9CD866-166D-4CBF-9B4A-37921AE04D82}" dt="2024-03-04T10:17:45.851" v="696" actId="478"/>
          <ac:spMkLst>
            <pc:docMk/>
            <pc:sldMk cId="3421015710" sldId="2537"/>
            <ac:spMk id="30" creationId="{F640065D-8B4F-626A-8699-7EC0C4B2A5BE}"/>
          </ac:spMkLst>
        </pc:spChg>
        <pc:spChg chg="del mod">
          <ac:chgData name="Mauricio Pena" userId="e8c94f7e-bc6e-4c95-ac94-d3ff72f76780" providerId="ADAL" clId="{DF9CD866-166D-4CBF-9B4A-37921AE04D82}" dt="2024-03-04T10:18:15.471" v="713" actId="478"/>
          <ac:spMkLst>
            <pc:docMk/>
            <pc:sldMk cId="3421015710" sldId="2537"/>
            <ac:spMk id="32" creationId="{64FDBE7B-7C8F-7BDC-2CF8-2AF57A53AF97}"/>
          </ac:spMkLst>
        </pc:spChg>
        <pc:spChg chg="del">
          <ac:chgData name="Mauricio Pena" userId="e8c94f7e-bc6e-4c95-ac94-d3ff72f76780" providerId="ADAL" clId="{DF9CD866-166D-4CBF-9B4A-37921AE04D82}" dt="2024-03-04T10:18:13.667" v="710" actId="478"/>
          <ac:spMkLst>
            <pc:docMk/>
            <pc:sldMk cId="3421015710" sldId="2537"/>
            <ac:spMk id="33" creationId="{5CCC23DA-A785-AF65-EF39-CD60653F4F58}"/>
          </ac:spMkLst>
        </pc:spChg>
        <pc:spChg chg="add mod">
          <ac:chgData name="Mauricio Pena" userId="e8c94f7e-bc6e-4c95-ac94-d3ff72f76780" providerId="ADAL" clId="{DF9CD866-166D-4CBF-9B4A-37921AE04D82}" dt="2024-03-04T10:31:29.336" v="941" actId="164"/>
          <ac:spMkLst>
            <pc:docMk/>
            <pc:sldMk cId="3421015710" sldId="2537"/>
            <ac:spMk id="37" creationId="{495CE9DC-BA3A-774C-7E94-4F79EE44DDFD}"/>
          </ac:spMkLst>
        </pc:spChg>
        <pc:spChg chg="add mod">
          <ac:chgData name="Mauricio Pena" userId="e8c94f7e-bc6e-4c95-ac94-d3ff72f76780" providerId="ADAL" clId="{DF9CD866-166D-4CBF-9B4A-37921AE04D82}" dt="2024-03-04T10:31:29.336" v="941" actId="164"/>
          <ac:spMkLst>
            <pc:docMk/>
            <pc:sldMk cId="3421015710" sldId="2537"/>
            <ac:spMk id="38" creationId="{D30C3901-EE34-99D2-BE0B-73BB944C6C27}"/>
          </ac:spMkLst>
        </pc:spChg>
        <pc:grpChg chg="add mod">
          <ac:chgData name="Mauricio Pena" userId="e8c94f7e-bc6e-4c95-ac94-d3ff72f76780" providerId="ADAL" clId="{DF9CD866-166D-4CBF-9B4A-37921AE04D82}" dt="2024-03-04T10:31:37.526" v="942" actId="1076"/>
          <ac:grpSpMkLst>
            <pc:docMk/>
            <pc:sldMk cId="3421015710" sldId="2537"/>
            <ac:grpSpMk id="40" creationId="{D959F4F1-2B06-2F16-504A-EE54F8E39F0C}"/>
          </ac:grpSpMkLst>
        </pc:grpChg>
        <pc:picChg chg="del">
          <ac:chgData name="Mauricio Pena" userId="e8c94f7e-bc6e-4c95-ac94-d3ff72f76780" providerId="ADAL" clId="{DF9CD866-166D-4CBF-9B4A-37921AE04D82}" dt="2024-03-04T10:17:41.419" v="692" actId="478"/>
          <ac:picMkLst>
            <pc:docMk/>
            <pc:sldMk cId="3421015710" sldId="2537"/>
            <ac:picMk id="3" creationId="{7D921236-074A-0A0F-AA9E-019E4AE5FC14}"/>
          </ac:picMkLst>
        </pc:picChg>
        <pc:picChg chg="add mod">
          <ac:chgData name="Mauricio Pena" userId="e8c94f7e-bc6e-4c95-ac94-d3ff72f76780" providerId="ADAL" clId="{DF9CD866-166D-4CBF-9B4A-37921AE04D82}" dt="2024-03-04T10:31:29.336" v="941" actId="164"/>
          <ac:picMkLst>
            <pc:docMk/>
            <pc:sldMk cId="3421015710" sldId="2537"/>
            <ac:picMk id="10" creationId="{7D921236-074A-0A0F-AA9E-019E4AE5FC14}"/>
          </ac:picMkLst>
        </pc:picChg>
        <pc:picChg chg="del">
          <ac:chgData name="Mauricio Pena" userId="e8c94f7e-bc6e-4c95-ac94-d3ff72f76780" providerId="ADAL" clId="{DF9CD866-166D-4CBF-9B4A-37921AE04D82}" dt="2024-03-04T10:18:14.606" v="711" actId="478"/>
          <ac:picMkLst>
            <pc:docMk/>
            <pc:sldMk cId="3421015710" sldId="2537"/>
            <ac:picMk id="31" creationId="{730A44C0-4977-C9F3-2099-255A4FB3D6E9}"/>
          </ac:picMkLst>
        </pc:picChg>
        <pc:picChg chg="del">
          <ac:chgData name="Mauricio Pena" userId="e8c94f7e-bc6e-4c95-ac94-d3ff72f76780" providerId="ADAL" clId="{DF9CD866-166D-4CBF-9B4A-37921AE04D82}" dt="2024-03-04T10:18:05.084" v="705" actId="478"/>
          <ac:picMkLst>
            <pc:docMk/>
            <pc:sldMk cId="3421015710" sldId="2537"/>
            <ac:picMk id="34" creationId="{ACBB51B1-963F-2FD0-BEF2-BCBD72CBA79E}"/>
          </ac:picMkLst>
        </pc:picChg>
        <pc:picChg chg="del">
          <ac:chgData name="Mauricio Pena" userId="e8c94f7e-bc6e-4c95-ac94-d3ff72f76780" providerId="ADAL" clId="{DF9CD866-166D-4CBF-9B4A-37921AE04D82}" dt="2024-03-04T10:17:54.158" v="698" actId="478"/>
          <ac:picMkLst>
            <pc:docMk/>
            <pc:sldMk cId="3421015710" sldId="2537"/>
            <ac:picMk id="35" creationId="{B7F89776-7648-017D-9295-778EE37A099B}"/>
          </ac:picMkLst>
        </pc:picChg>
        <pc:picChg chg="add mod">
          <ac:chgData name="Mauricio Pena" userId="e8c94f7e-bc6e-4c95-ac94-d3ff72f76780" providerId="ADAL" clId="{DF9CD866-166D-4CBF-9B4A-37921AE04D82}" dt="2024-03-04T10:31:29.336" v="941" actId="164"/>
          <ac:picMkLst>
            <pc:docMk/>
            <pc:sldMk cId="3421015710" sldId="2537"/>
            <ac:picMk id="36" creationId="{B7572CB2-8314-1691-6B99-72C2A297C32D}"/>
          </ac:picMkLst>
        </pc:picChg>
        <pc:picChg chg="add mod">
          <ac:chgData name="Mauricio Pena" userId="e8c94f7e-bc6e-4c95-ac94-d3ff72f76780" providerId="ADAL" clId="{DF9CD866-166D-4CBF-9B4A-37921AE04D82}" dt="2024-03-04T10:31:29.336" v="941" actId="164"/>
          <ac:picMkLst>
            <pc:docMk/>
            <pc:sldMk cId="3421015710" sldId="2537"/>
            <ac:picMk id="39" creationId="{9A490862-79BD-DF10-1B3A-F2368C1A7961}"/>
          </ac:picMkLst>
        </pc:picChg>
        <pc:cxnChg chg="add mod">
          <ac:chgData name="Mauricio Pena" userId="e8c94f7e-bc6e-4c95-ac94-d3ff72f76780" providerId="ADAL" clId="{DF9CD866-166D-4CBF-9B4A-37921AE04D82}" dt="2024-03-04T10:31:29.336" v="941" actId="164"/>
          <ac:cxnSpMkLst>
            <pc:docMk/>
            <pc:sldMk cId="3421015710" sldId="2537"/>
            <ac:cxnSpMk id="11" creationId="{CD7F9A46-4C9D-6C22-45BD-1CACA9C22BF9}"/>
          </ac:cxnSpMkLst>
        </pc:cxnChg>
        <pc:cxnChg chg="add mod">
          <ac:chgData name="Mauricio Pena" userId="e8c94f7e-bc6e-4c95-ac94-d3ff72f76780" providerId="ADAL" clId="{DF9CD866-166D-4CBF-9B4A-37921AE04D82}" dt="2024-03-04T10:31:29.336" v="941" actId="164"/>
          <ac:cxnSpMkLst>
            <pc:docMk/>
            <pc:sldMk cId="3421015710" sldId="2537"/>
            <ac:cxnSpMk id="13" creationId="{6B2A3D9E-F0AB-C9D2-F190-FBBAEEC8C423}"/>
          </ac:cxnSpMkLst>
        </pc:cxnChg>
        <pc:cxnChg chg="del">
          <ac:chgData name="Mauricio Pena" userId="e8c94f7e-bc6e-4c95-ac94-d3ff72f76780" providerId="ADAL" clId="{DF9CD866-166D-4CBF-9B4A-37921AE04D82}" dt="2024-03-04T10:18:12.066" v="709" actId="478"/>
          <ac:cxnSpMkLst>
            <pc:docMk/>
            <pc:sldMk cId="3421015710" sldId="2537"/>
            <ac:cxnSpMk id="18" creationId="{9CC91487-A271-DAE0-74A8-508DF90A772A}"/>
          </ac:cxnSpMkLst>
        </pc:cxnChg>
        <pc:cxnChg chg="del">
          <ac:chgData name="Mauricio Pena" userId="e8c94f7e-bc6e-4c95-ac94-d3ff72f76780" providerId="ADAL" clId="{DF9CD866-166D-4CBF-9B4A-37921AE04D82}" dt="2024-03-04T10:18:10.860" v="708" actId="478"/>
          <ac:cxnSpMkLst>
            <pc:docMk/>
            <pc:sldMk cId="3421015710" sldId="2537"/>
            <ac:cxnSpMk id="19" creationId="{67BF26AB-551E-CA5B-80CE-2E3F4391F19A}"/>
          </ac:cxnSpMkLst>
        </pc:cxnChg>
        <pc:cxnChg chg="del">
          <ac:chgData name="Mauricio Pena" userId="e8c94f7e-bc6e-4c95-ac94-d3ff72f76780" providerId="ADAL" clId="{DF9CD866-166D-4CBF-9B4A-37921AE04D82}" dt="2024-03-04T10:17:59.324" v="702" actId="478"/>
          <ac:cxnSpMkLst>
            <pc:docMk/>
            <pc:sldMk cId="3421015710" sldId="2537"/>
            <ac:cxnSpMk id="20" creationId="{11C69860-AB1A-A8A3-D521-7399068AEDA3}"/>
          </ac:cxnSpMkLst>
        </pc:cxnChg>
      </pc:sldChg>
    </pc:docChg>
  </pc:docChgLst>
  <pc:docChgLst>
    <pc:chgData name="Suleiman Mesto" userId="b079e64d-10fa-49c0-aa6b-01f372729768" providerId="ADAL" clId="{3121A606-74DC-4800-9065-FF97673C00C0}"/>
    <pc:docChg chg="modSld">
      <pc:chgData name="Suleiman Mesto" userId="b079e64d-10fa-49c0-aa6b-01f372729768" providerId="ADAL" clId="{3121A606-74DC-4800-9065-FF97673C00C0}" dt="2023-03-27T06:04:13.512" v="0" actId="20577"/>
      <pc:docMkLst>
        <pc:docMk/>
      </pc:docMkLst>
      <pc:sldChg chg="modSp mod">
        <pc:chgData name="Suleiman Mesto" userId="b079e64d-10fa-49c0-aa6b-01f372729768" providerId="ADAL" clId="{3121A606-74DC-4800-9065-FF97673C00C0}" dt="2023-03-27T06:04:13.512" v="0" actId="20577"/>
        <pc:sldMkLst>
          <pc:docMk/>
          <pc:sldMk cId="0" sldId="283"/>
        </pc:sldMkLst>
        <pc:spChg chg="mod">
          <ac:chgData name="Suleiman Mesto" userId="b079e64d-10fa-49c0-aa6b-01f372729768" providerId="ADAL" clId="{3121A606-74DC-4800-9065-FF97673C00C0}" dt="2023-03-27T06:04:13.512" v="0" actId="20577"/>
          <ac:spMkLst>
            <pc:docMk/>
            <pc:sldMk cId="0" sldId="283"/>
            <ac:spMk id="3" creationId="{18565701-498B-4BA6-9AF2-C14C63DAE209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379CF668-8A71-4852-B1C6-189A428EC9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2DE33A9-3A4C-4003-BEF3-5C633B9F320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6BDC053-37CC-451C-B25E-536C9D181DBA}" type="datetimeFigureOut">
              <a:rPr lang="en-GB"/>
              <a:pPr>
                <a:defRPr/>
              </a:pPr>
              <a:t>04/03/2024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E9C9659-80CA-4A8F-8B39-4245EF82818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4602B3B-96BB-4053-91CC-1BD6127DFDF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B5CD9755-2BB0-4E14-97AB-C7DBD5FDDFF0}" type="slidenum">
              <a:rPr lang="en-GB" altLang="de-DE"/>
              <a:pPr/>
              <a:t>‹Nº›</a:t>
            </a:fld>
            <a:endParaRPr lang="en-GB" altLang="de-DE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5D7AEBDE-3559-4B5B-8FD3-76938AE153F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E90CD32-1133-485E-9225-52699F53649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880844B-102C-45A5-8C4D-58AAC96BDA2E}" type="datetimeFigureOut">
              <a:rPr lang="en-US"/>
              <a:pPr>
                <a:defRPr/>
              </a:pPr>
              <a:t>3/4/2024</a:t>
            </a:fld>
            <a:endParaRPr lang="en-US"/>
          </a:p>
        </p:txBody>
      </p:sp>
      <p:sp>
        <p:nvSpPr>
          <p:cNvPr id="4" name="Folienbildplatzhalter 3">
            <a:extLst>
              <a:ext uri="{FF2B5EF4-FFF2-40B4-BE49-F238E27FC236}">
                <a16:creationId xmlns:a16="http://schemas.microsoft.com/office/drawing/2014/main" id="{6B6E98B9-DA66-46F0-B128-9F4C2FFF272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izenplatzhalter 4">
            <a:extLst>
              <a:ext uri="{FF2B5EF4-FFF2-40B4-BE49-F238E27FC236}">
                <a16:creationId xmlns:a16="http://schemas.microsoft.com/office/drawing/2014/main" id="{1F8BECA9-60B4-45C9-9AAD-05E73D3546B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DDCC354-FDD6-478D-B31D-9B08A12A3E6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3E93CAD-1AA5-44AE-811D-394E06E9E56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6A01542E-203C-4324-AAF3-23D55ACB5D19}" type="slidenum">
              <a:rPr lang="en-US" altLang="de-DE"/>
              <a:pPr/>
              <a:t>‹Nº›</a:t>
            </a:fld>
            <a:endParaRPr lang="en-US" alt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F86877DB-3D6A-495C-A542-1CA2AAAB930C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5AA0C00B-3BD4-4B9E-9ECC-9F8A277DAB1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6873256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F86877DB-3D6A-495C-A542-1CA2AAAB930C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5AA0C00B-3BD4-4B9E-9ECC-9F8A277DAB1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229551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F86877DB-3D6A-495C-A542-1CA2AAAB930C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5AA0C00B-3BD4-4B9E-9ECC-9F8A277DAB1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146383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F86877DB-3D6A-495C-A542-1CA2AAAB930C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5AA0C00B-3BD4-4B9E-9ECC-9F8A277DAB1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372867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F86877DB-3D6A-495C-A542-1CA2AAAB930C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5AA0C00B-3BD4-4B9E-9ECC-9F8A277DAB1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490244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>
            <a:extLst>
              <a:ext uri="{FF2B5EF4-FFF2-40B4-BE49-F238E27FC236}">
                <a16:creationId xmlns:a16="http://schemas.microsoft.com/office/drawing/2014/main" id="{F86877DB-3D6A-495C-A542-1CA2AAAB930C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>
            <a:extLst>
              <a:ext uri="{FF2B5EF4-FFF2-40B4-BE49-F238E27FC236}">
                <a16:creationId xmlns:a16="http://schemas.microsoft.com/office/drawing/2014/main" id="{5AA0C00B-3BD4-4B9E-9ECC-9F8A277DAB1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900133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27943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nje\Desktop\Logos WMF und EMF\1000_SIK_Logo_ClaimR_NO_ARTWORK_RGB.wmf">
            <a:extLst>
              <a:ext uri="{FF2B5EF4-FFF2-40B4-BE49-F238E27FC236}">
                <a16:creationId xmlns:a16="http://schemas.microsoft.com/office/drawing/2014/main" id="{1F4AC709-4F2D-400E-8D2E-9DA64FA326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4650" y="4264025"/>
            <a:ext cx="2168525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288000" y="195263"/>
            <a:ext cx="8607600" cy="1998000"/>
          </a:xfrm>
          <a:prstGeom prst="rect">
            <a:avLst/>
          </a:prstGeom>
        </p:spPr>
        <p:txBody>
          <a:bodyPr lIns="0" tIns="0" rIns="0" bIns="0"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288000" y="2276101"/>
            <a:ext cx="8607600" cy="4007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kern="100" cap="all" baseline="0">
                <a:latin typeface="Calibri" pitchFamily="34" charset="0"/>
              </a:defRPr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288000" y="2697300"/>
            <a:ext cx="8607600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kern="1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358534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yellow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2D906BE9-F254-4010-A5AD-733AB56EBD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A8007B4-88CA-4B0A-98BF-68A68AFF1B76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DEEB76BC-CFBD-4BD8-9E61-2A167581F35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87338" y="915988"/>
            <a:ext cx="8605837" cy="3654425"/>
          </a:xfrm>
        </p:spPr>
        <p:txBody>
          <a:bodyPr/>
          <a:lstStyle>
            <a:lvl1pPr>
              <a:buClr>
                <a:schemeClr val="bg1"/>
              </a:buClr>
              <a:defRPr/>
            </a:lvl1pPr>
            <a:lvl2pPr>
              <a:buClr>
                <a:schemeClr val="bg1"/>
              </a:buClr>
              <a:defRPr/>
            </a:lvl2pPr>
            <a:lvl3pPr>
              <a:buClr>
                <a:schemeClr val="bg1"/>
              </a:buClr>
              <a:defRPr/>
            </a:lvl3pPr>
            <a:lvl4pPr>
              <a:buClr>
                <a:schemeClr val="bg1"/>
              </a:buClr>
              <a:defRPr/>
            </a:lvl4pPr>
            <a:lvl5pPr>
              <a:buClr>
                <a:schemeClr val="bg1"/>
              </a:buClr>
              <a:defRPr/>
            </a:lvl5pPr>
            <a:lvl6pPr marL="1630362" indent="-285750">
              <a:buClr>
                <a:schemeClr val="bg1"/>
              </a:buClr>
              <a:buFont typeface="Wingdings" panose="05000000000000000000" pitchFamily="2" charset="2"/>
              <a:buChar char="§"/>
              <a:defRPr/>
            </a:lvl6pPr>
            <a:lvl7pPr marL="1898650" indent="-285750">
              <a:buClr>
                <a:schemeClr val="bg1"/>
              </a:buClr>
              <a:buFont typeface="Wingdings" panose="05000000000000000000" pitchFamily="2" charset="2"/>
              <a:buChar char="§"/>
              <a:defRPr/>
            </a:lvl7pPr>
            <a:lvl8pPr marL="2168525" indent="-285750">
              <a:buClr>
                <a:schemeClr val="bg1"/>
              </a:buClr>
              <a:buFont typeface="Wingdings" panose="05000000000000000000" pitchFamily="2" charset="2"/>
              <a:buChar char="§"/>
              <a:defRPr/>
            </a:lvl8pPr>
            <a:lvl9pPr marL="2436813" indent="-285750">
              <a:buClr>
                <a:schemeClr val="bg1"/>
              </a:buClr>
              <a:buFont typeface="Wingdings" panose="05000000000000000000" pitchFamily="2" charset="2"/>
              <a:buChar char="§"/>
              <a:defRPr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5453983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grey">
    <p:bg>
      <p:bgPr>
        <a:solidFill>
          <a:srgbClr val="C0C5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87C77C3-FD33-467C-9319-9337B7B51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820E23E-1514-4362-A0F3-53FF836B82E3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05AB328A-AE37-4509-9FC5-5147B28C6BD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87338" y="915988"/>
            <a:ext cx="8605837" cy="3654425"/>
          </a:xfrm>
        </p:spPr>
        <p:txBody>
          <a:bodyPr/>
          <a:lstStyle>
            <a:lvl1pPr>
              <a:buClr>
                <a:schemeClr val="bg1"/>
              </a:buClr>
              <a:defRPr/>
            </a:lvl1pPr>
            <a:lvl2pPr>
              <a:buClr>
                <a:schemeClr val="bg1"/>
              </a:buClr>
              <a:defRPr/>
            </a:lvl2pPr>
            <a:lvl3pPr>
              <a:buClr>
                <a:schemeClr val="bg1"/>
              </a:buClr>
              <a:defRPr/>
            </a:lvl3pPr>
            <a:lvl4pPr>
              <a:buClr>
                <a:schemeClr val="bg1"/>
              </a:buClr>
              <a:defRPr/>
            </a:lvl4pPr>
            <a:lvl5pPr>
              <a:buClr>
                <a:schemeClr val="bg1"/>
              </a:buClr>
              <a:defRPr/>
            </a:lvl5pPr>
            <a:lvl6pPr>
              <a:buClr>
                <a:schemeClr val="bg1"/>
              </a:buClr>
              <a:defRPr/>
            </a:lvl6pPr>
            <a:lvl7pPr>
              <a:buClr>
                <a:schemeClr val="bg1"/>
              </a:buClr>
              <a:defRPr/>
            </a:lvl7pPr>
            <a:lvl8pPr>
              <a:buClr>
                <a:schemeClr val="bg1"/>
              </a:buClr>
              <a:defRPr/>
            </a:lvl8pPr>
            <a:lvl9pPr>
              <a:buClr>
                <a:schemeClr val="bg1"/>
              </a:buClr>
              <a:defRPr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4117169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5142310"/>
          </a:xfrm>
          <a:prstGeom prst="rect">
            <a:avLst/>
          </a:prstGeom>
        </p:spPr>
        <p:txBody>
          <a:bodyPr rIns="0" rtlCol="0">
            <a:normAutofit/>
          </a:bodyPr>
          <a:lstStyle>
            <a:lvl1pPr marL="0" indent="0">
              <a:buNone/>
              <a:defRPr baseline="0"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288000" y="1032272"/>
            <a:ext cx="8604000" cy="15336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288000" y="2652759"/>
            <a:ext cx="8604000" cy="13501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895062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2"/>
          <p:cNvSpPr>
            <a:spLocks noGrp="1"/>
          </p:cNvSpPr>
          <p:nvPr>
            <p:ph sz="quarter" idx="11"/>
          </p:nvPr>
        </p:nvSpPr>
        <p:spPr>
          <a:xfrm>
            <a:off x="287337" y="915988"/>
            <a:ext cx="4213226" cy="1800225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defRPr sz="1600" kern="100" baseline="0">
                <a:latin typeface="Calibri" pitchFamily="34" charset="0"/>
              </a:defRPr>
            </a:lvl1pPr>
            <a:lvl2pPr marL="5328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2pPr>
            <a:lvl3pPr marL="8064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3pPr>
            <a:lvl4pPr marL="10800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tabLst/>
              <a:defRPr sz="1600" kern="100">
                <a:latin typeface="Calibri" pitchFamily="34" charset="0"/>
              </a:defRPr>
            </a:lvl4pPr>
            <a:lvl5pPr marL="13500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defRPr sz="1600" baseline="0">
                <a:latin typeface="Calibri" pitchFamily="34" charset="0"/>
              </a:defRPr>
            </a:lvl5pPr>
            <a:lvl6pPr>
              <a:lnSpc>
                <a:spcPct val="90000"/>
              </a:lnSpc>
              <a:spcBef>
                <a:spcPts val="384"/>
              </a:spcBef>
              <a:defRPr sz="1600"/>
            </a:lvl6pPr>
            <a:lvl7pPr>
              <a:lnSpc>
                <a:spcPct val="90000"/>
              </a:lnSpc>
              <a:spcBef>
                <a:spcPts val="384"/>
              </a:spcBef>
              <a:defRPr sz="1600"/>
            </a:lvl7pPr>
            <a:lvl8pPr>
              <a:lnSpc>
                <a:spcPct val="90000"/>
              </a:lnSpc>
              <a:spcBef>
                <a:spcPts val="384"/>
              </a:spcBef>
              <a:defRPr sz="1600"/>
            </a:lvl8pPr>
            <a:lvl9pPr>
              <a:lnSpc>
                <a:spcPct val="90000"/>
              </a:lnSpc>
              <a:spcBef>
                <a:spcPts val="384"/>
              </a:spcBef>
              <a:defRPr sz="16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20" name="Inhaltsplatzhalter 2"/>
          <p:cNvSpPr>
            <a:spLocks noGrp="1"/>
          </p:cNvSpPr>
          <p:nvPr>
            <p:ph sz="quarter" idx="18"/>
          </p:nvPr>
        </p:nvSpPr>
        <p:spPr>
          <a:xfrm>
            <a:off x="4679951" y="915988"/>
            <a:ext cx="4212529" cy="1800225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600" kern="100" baseline="0">
                <a:latin typeface="Calibri" pitchFamily="34" charset="0"/>
              </a:defRPr>
            </a:lvl1pPr>
            <a:lvl2pPr marL="5328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600" kern="100">
                <a:latin typeface="Calibri" pitchFamily="34" charset="0"/>
              </a:defRPr>
            </a:lvl4pPr>
            <a:lvl5pPr marL="1350000" indent="-270000">
              <a:lnSpc>
                <a:spcPts val="9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Char char="§"/>
              <a:defRPr sz="1600" baseline="0">
                <a:latin typeface="Calibri" pitchFamily="34" charset="0"/>
              </a:defRPr>
            </a:lvl5pPr>
            <a:lvl6pPr>
              <a:lnSpc>
                <a:spcPct val="90000"/>
              </a:lnSpc>
              <a:spcBef>
                <a:spcPts val="384"/>
              </a:spcBef>
              <a:defRPr sz="1600"/>
            </a:lvl6pPr>
            <a:lvl7pPr>
              <a:lnSpc>
                <a:spcPct val="90000"/>
              </a:lnSpc>
              <a:spcBef>
                <a:spcPts val="384"/>
              </a:spcBef>
              <a:defRPr sz="1600"/>
            </a:lvl7pPr>
            <a:lvl8pPr>
              <a:lnSpc>
                <a:spcPct val="90000"/>
              </a:lnSpc>
              <a:spcBef>
                <a:spcPts val="384"/>
              </a:spcBef>
              <a:defRPr sz="1600"/>
            </a:lvl8pPr>
            <a:lvl9pPr>
              <a:lnSpc>
                <a:spcPct val="90000"/>
              </a:lnSpc>
              <a:spcBef>
                <a:spcPts val="384"/>
              </a:spcBef>
              <a:defRPr sz="16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21" name="Inhaltsplatzhalter 2"/>
          <p:cNvSpPr>
            <a:spLocks noGrp="1"/>
          </p:cNvSpPr>
          <p:nvPr>
            <p:ph sz="quarter" idx="19"/>
          </p:nvPr>
        </p:nvSpPr>
        <p:spPr>
          <a:xfrm>
            <a:off x="287338" y="2859088"/>
            <a:ext cx="4213225" cy="1711326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600" kern="100" baseline="0">
                <a:latin typeface="Calibri" pitchFamily="34" charset="0"/>
              </a:defRPr>
            </a:lvl1pPr>
            <a:lvl2pPr marL="5328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600" kern="100">
                <a:latin typeface="Calibri" pitchFamily="34" charset="0"/>
              </a:defRPr>
            </a:lvl4pPr>
            <a:lvl5pPr marL="1350000" indent="-270000">
              <a:lnSpc>
                <a:spcPts val="9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Char char="§"/>
              <a:defRPr sz="1600" baseline="0">
                <a:latin typeface="Calibri" pitchFamily="34" charset="0"/>
              </a:defRPr>
            </a:lvl5pPr>
            <a:lvl6pPr>
              <a:lnSpc>
                <a:spcPct val="90000"/>
              </a:lnSpc>
              <a:spcBef>
                <a:spcPts val="384"/>
              </a:spcBef>
              <a:defRPr sz="1600"/>
            </a:lvl6pPr>
            <a:lvl7pPr>
              <a:lnSpc>
                <a:spcPct val="90000"/>
              </a:lnSpc>
              <a:spcBef>
                <a:spcPts val="384"/>
              </a:spcBef>
              <a:defRPr sz="1600"/>
            </a:lvl7pPr>
            <a:lvl8pPr>
              <a:lnSpc>
                <a:spcPct val="90000"/>
              </a:lnSpc>
              <a:spcBef>
                <a:spcPts val="384"/>
              </a:spcBef>
              <a:defRPr sz="1600"/>
            </a:lvl8pPr>
            <a:lvl9pPr>
              <a:lnSpc>
                <a:spcPct val="90000"/>
              </a:lnSpc>
              <a:spcBef>
                <a:spcPts val="384"/>
              </a:spcBef>
              <a:defRPr sz="16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22" name="Inhaltsplatzhalter 2"/>
          <p:cNvSpPr>
            <a:spLocks noGrp="1"/>
          </p:cNvSpPr>
          <p:nvPr>
            <p:ph sz="quarter" idx="20"/>
          </p:nvPr>
        </p:nvSpPr>
        <p:spPr>
          <a:xfrm>
            <a:off x="4679950" y="2859088"/>
            <a:ext cx="4212530" cy="1710530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600" kern="100" baseline="0">
                <a:latin typeface="Calibri" pitchFamily="34" charset="0"/>
              </a:defRPr>
            </a:lvl1pPr>
            <a:lvl2pPr marL="5328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600" kern="100">
                <a:latin typeface="Calibri" pitchFamily="34" charset="0"/>
              </a:defRPr>
            </a:lvl4pPr>
            <a:lvl5pPr marL="1350000" indent="-270000">
              <a:lnSpc>
                <a:spcPts val="9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Char char="§"/>
              <a:defRPr sz="1600" baseline="0">
                <a:latin typeface="Calibri" pitchFamily="34" charset="0"/>
              </a:defRPr>
            </a:lvl5pPr>
            <a:lvl6pPr>
              <a:lnSpc>
                <a:spcPct val="90000"/>
              </a:lnSpc>
              <a:spcBef>
                <a:spcPts val="384"/>
              </a:spcBef>
              <a:defRPr sz="1600"/>
            </a:lvl6pPr>
            <a:lvl7pPr>
              <a:lnSpc>
                <a:spcPct val="90000"/>
              </a:lnSpc>
              <a:spcBef>
                <a:spcPts val="384"/>
              </a:spcBef>
              <a:defRPr sz="1600"/>
            </a:lvl7pPr>
            <a:lvl8pPr>
              <a:lnSpc>
                <a:spcPct val="90000"/>
              </a:lnSpc>
              <a:spcBef>
                <a:spcPts val="384"/>
              </a:spcBef>
              <a:defRPr sz="1600"/>
            </a:lvl8pPr>
            <a:lvl9pPr>
              <a:lnSpc>
                <a:spcPct val="90000"/>
              </a:lnSpc>
              <a:spcBef>
                <a:spcPts val="384"/>
              </a:spcBef>
              <a:defRPr sz="16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546173EB-52B9-48BC-A028-A66CBFD134D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fld id="{52CF4C92-67B2-4054-957B-7926FFE6160C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6507534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 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546173EB-52B9-48BC-A028-A66CBFD134D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fld id="{52CF4C92-67B2-4054-957B-7926FFE6160C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14" name="Bildplatzhalter 3">
            <a:extLst>
              <a:ext uri="{FF2B5EF4-FFF2-40B4-BE49-F238E27FC236}">
                <a16:creationId xmlns:a16="http://schemas.microsoft.com/office/drawing/2014/main" id="{24AC2757-4953-BFA0-5346-43D2F2F794C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287336" y="915988"/>
            <a:ext cx="4213226" cy="1800225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1C77C9D4-BDCB-78B1-696A-4B45350DF76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87338" y="2859088"/>
            <a:ext cx="4213225" cy="1711326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Inhaltsplatzhalter 2"/>
          <p:cNvSpPr>
            <a:spLocks noGrp="1"/>
          </p:cNvSpPr>
          <p:nvPr>
            <p:ph sz="quarter" idx="11"/>
          </p:nvPr>
        </p:nvSpPr>
        <p:spPr>
          <a:xfrm>
            <a:off x="4679952" y="915988"/>
            <a:ext cx="4212529" cy="1800225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defRPr sz="1600" kern="100" baseline="0">
                <a:latin typeface="Calibri" pitchFamily="34" charset="0"/>
              </a:defRPr>
            </a:lvl1pPr>
            <a:lvl2pPr marL="5328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2pPr>
            <a:lvl3pPr marL="8064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3pPr>
            <a:lvl4pPr marL="10800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tabLst/>
              <a:defRPr sz="1600" kern="100">
                <a:latin typeface="Calibri" pitchFamily="34" charset="0"/>
              </a:defRPr>
            </a:lvl4pPr>
            <a:lvl5pPr marL="1350000" indent="-270000">
              <a:lnSpc>
                <a:spcPct val="90000"/>
              </a:lnSpc>
              <a:spcBef>
                <a:spcPts val="384"/>
              </a:spcBef>
              <a:buClr>
                <a:schemeClr val="accent1"/>
              </a:buClr>
              <a:buFont typeface="Wingdings" pitchFamily="2" charset="2"/>
              <a:buChar char="§"/>
              <a:defRPr sz="1600" baseline="0">
                <a:latin typeface="Calibri" pitchFamily="34" charset="0"/>
              </a:defRPr>
            </a:lvl5pPr>
            <a:lvl6pPr>
              <a:lnSpc>
                <a:spcPct val="90000"/>
              </a:lnSpc>
              <a:spcBef>
                <a:spcPts val="384"/>
              </a:spcBef>
              <a:defRPr sz="1600"/>
            </a:lvl6pPr>
            <a:lvl7pPr>
              <a:lnSpc>
                <a:spcPct val="90000"/>
              </a:lnSpc>
              <a:spcBef>
                <a:spcPts val="384"/>
              </a:spcBef>
              <a:defRPr sz="1600"/>
            </a:lvl7pPr>
            <a:lvl8pPr>
              <a:lnSpc>
                <a:spcPct val="90000"/>
              </a:lnSpc>
              <a:spcBef>
                <a:spcPts val="384"/>
              </a:spcBef>
              <a:defRPr sz="1600"/>
            </a:lvl8pPr>
            <a:lvl9pPr>
              <a:lnSpc>
                <a:spcPct val="90000"/>
              </a:lnSpc>
              <a:spcBef>
                <a:spcPts val="384"/>
              </a:spcBef>
              <a:defRPr sz="16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21" name="Inhaltsplatzhalter 2"/>
          <p:cNvSpPr>
            <a:spLocks noGrp="1"/>
          </p:cNvSpPr>
          <p:nvPr>
            <p:ph sz="quarter" idx="19"/>
          </p:nvPr>
        </p:nvSpPr>
        <p:spPr>
          <a:xfrm>
            <a:off x="4679949" y="2859087"/>
            <a:ext cx="4212530" cy="1710530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600" kern="100" baseline="0">
                <a:latin typeface="Calibri" pitchFamily="34" charset="0"/>
              </a:defRPr>
            </a:lvl1pPr>
            <a:lvl2pPr marL="5328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600" kern="100">
                <a:latin typeface="Calibri" pitchFamily="34" charset="0"/>
              </a:defRPr>
            </a:lvl4pPr>
            <a:lvl5pPr marL="1350000" indent="-270000">
              <a:lnSpc>
                <a:spcPts val="9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Char char="§"/>
              <a:defRPr sz="1600" baseline="0">
                <a:latin typeface="Calibri" pitchFamily="34" charset="0"/>
              </a:defRPr>
            </a:lvl5pPr>
            <a:lvl6pPr>
              <a:lnSpc>
                <a:spcPct val="90000"/>
              </a:lnSpc>
              <a:spcBef>
                <a:spcPts val="384"/>
              </a:spcBef>
              <a:defRPr sz="1600"/>
            </a:lvl6pPr>
            <a:lvl7pPr>
              <a:lnSpc>
                <a:spcPct val="90000"/>
              </a:lnSpc>
              <a:spcBef>
                <a:spcPts val="384"/>
              </a:spcBef>
              <a:defRPr sz="1600"/>
            </a:lvl7pPr>
            <a:lvl8pPr>
              <a:lnSpc>
                <a:spcPct val="90000"/>
              </a:lnSpc>
              <a:spcBef>
                <a:spcPts val="384"/>
              </a:spcBef>
              <a:defRPr sz="1600"/>
            </a:lvl8pPr>
            <a:lvl9pPr>
              <a:lnSpc>
                <a:spcPct val="90000"/>
              </a:lnSpc>
              <a:spcBef>
                <a:spcPts val="384"/>
              </a:spcBef>
              <a:defRPr sz="16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0712300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546173EB-52B9-48BC-A028-A66CBFD134D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fld id="{52CF4C92-67B2-4054-957B-7926FFE6160C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14" name="Bildplatzhalter 3">
            <a:extLst>
              <a:ext uri="{FF2B5EF4-FFF2-40B4-BE49-F238E27FC236}">
                <a16:creationId xmlns:a16="http://schemas.microsoft.com/office/drawing/2014/main" id="{21AF75EC-1BFC-EC31-D1A2-9899BE531CC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87336" y="915988"/>
            <a:ext cx="4213226" cy="1800225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3">
            <a:extLst>
              <a:ext uri="{FF2B5EF4-FFF2-40B4-BE49-F238E27FC236}">
                <a16:creationId xmlns:a16="http://schemas.microsoft.com/office/drawing/2014/main" id="{7274123F-33CC-177C-F2FC-D882814E1802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679951" y="915988"/>
            <a:ext cx="4212529" cy="1800225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6" name="Bildplatzhalter 3">
            <a:extLst>
              <a:ext uri="{FF2B5EF4-FFF2-40B4-BE49-F238E27FC236}">
                <a16:creationId xmlns:a16="http://schemas.microsoft.com/office/drawing/2014/main" id="{9DE1919C-9D33-3029-1325-2A1EFD35CD8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287338" y="2859088"/>
            <a:ext cx="4213225" cy="1711326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7" name="Bildplatzhalter 3">
            <a:extLst>
              <a:ext uri="{FF2B5EF4-FFF2-40B4-BE49-F238E27FC236}">
                <a16:creationId xmlns:a16="http://schemas.microsoft.com/office/drawing/2014/main" id="{7FFAECDA-34C8-186D-500A-359D24BB2355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679949" y="2859088"/>
            <a:ext cx="4212530" cy="171053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089120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 horizontal 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Inhaltsplatzhalter 2"/>
          <p:cNvSpPr>
            <a:spLocks noGrp="1"/>
          </p:cNvSpPr>
          <p:nvPr>
            <p:ph sz="quarter" idx="19"/>
          </p:nvPr>
        </p:nvSpPr>
        <p:spPr>
          <a:xfrm>
            <a:off x="287338" y="2859088"/>
            <a:ext cx="4213225" cy="1711326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600" kern="100" baseline="0">
                <a:latin typeface="Calibri" pitchFamily="34" charset="0"/>
              </a:defRPr>
            </a:lvl1pPr>
            <a:lvl2pPr marL="5328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600" kern="100">
                <a:latin typeface="Calibri" pitchFamily="34" charset="0"/>
              </a:defRPr>
            </a:lvl4pPr>
            <a:lvl5pPr marL="1350000" indent="-270000">
              <a:lnSpc>
                <a:spcPts val="9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Char char="§"/>
              <a:defRPr sz="1600" baseline="0">
                <a:latin typeface="Calibri" pitchFamily="34" charset="0"/>
              </a:defRPr>
            </a:lvl5pPr>
            <a:lvl6pPr>
              <a:lnSpc>
                <a:spcPct val="90000"/>
              </a:lnSpc>
              <a:spcBef>
                <a:spcPts val="384"/>
              </a:spcBef>
              <a:defRPr sz="1600"/>
            </a:lvl6pPr>
            <a:lvl7pPr>
              <a:lnSpc>
                <a:spcPct val="90000"/>
              </a:lnSpc>
              <a:spcBef>
                <a:spcPts val="384"/>
              </a:spcBef>
              <a:defRPr sz="1600"/>
            </a:lvl7pPr>
            <a:lvl8pPr>
              <a:lnSpc>
                <a:spcPct val="90000"/>
              </a:lnSpc>
              <a:spcBef>
                <a:spcPts val="384"/>
              </a:spcBef>
              <a:defRPr sz="1600"/>
            </a:lvl8pPr>
            <a:lvl9pPr>
              <a:lnSpc>
                <a:spcPct val="90000"/>
              </a:lnSpc>
              <a:spcBef>
                <a:spcPts val="384"/>
              </a:spcBef>
              <a:defRPr sz="16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22" name="Inhaltsplatzhalter 2"/>
          <p:cNvSpPr>
            <a:spLocks noGrp="1"/>
          </p:cNvSpPr>
          <p:nvPr>
            <p:ph sz="quarter" idx="20"/>
          </p:nvPr>
        </p:nvSpPr>
        <p:spPr>
          <a:xfrm>
            <a:off x="4679950" y="2859088"/>
            <a:ext cx="4212530" cy="1710530"/>
          </a:xfrm>
          <a:prstGeom prst="rect">
            <a:avLst/>
          </a:prstGeom>
        </p:spPr>
        <p:txBody>
          <a:bodyPr lIns="0" tIns="0" rIns="0" bIns="0"/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600" kern="100" baseline="0">
                <a:latin typeface="Calibri" pitchFamily="34" charset="0"/>
              </a:defRPr>
            </a:lvl1pPr>
            <a:lvl2pPr marL="5328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600" kern="100">
                <a:latin typeface="Calibri" pitchFamily="34" charset="0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600" kern="100">
                <a:latin typeface="Calibri" pitchFamily="34" charset="0"/>
              </a:defRPr>
            </a:lvl4pPr>
            <a:lvl5pPr marL="1350000" indent="-270000">
              <a:lnSpc>
                <a:spcPts val="90"/>
              </a:lnSpc>
              <a:spcBef>
                <a:spcPts val="1600"/>
              </a:spcBef>
              <a:buClr>
                <a:schemeClr val="accent1"/>
              </a:buClr>
              <a:buFont typeface="Wingdings" pitchFamily="2" charset="2"/>
              <a:buChar char="§"/>
              <a:defRPr sz="1600" baseline="0">
                <a:latin typeface="Calibri" pitchFamily="34" charset="0"/>
              </a:defRPr>
            </a:lvl5pPr>
            <a:lvl6pPr>
              <a:lnSpc>
                <a:spcPct val="90000"/>
              </a:lnSpc>
              <a:spcBef>
                <a:spcPts val="384"/>
              </a:spcBef>
              <a:defRPr sz="1600"/>
            </a:lvl6pPr>
            <a:lvl7pPr>
              <a:lnSpc>
                <a:spcPct val="90000"/>
              </a:lnSpc>
              <a:spcBef>
                <a:spcPts val="384"/>
              </a:spcBef>
              <a:defRPr sz="1600"/>
            </a:lvl7pPr>
            <a:lvl8pPr>
              <a:lnSpc>
                <a:spcPct val="90000"/>
              </a:lnSpc>
              <a:spcBef>
                <a:spcPts val="384"/>
              </a:spcBef>
              <a:defRPr sz="1600"/>
            </a:lvl8pPr>
            <a:lvl9pPr>
              <a:lnSpc>
                <a:spcPct val="90000"/>
              </a:lnSpc>
              <a:spcBef>
                <a:spcPts val="384"/>
              </a:spcBef>
              <a:defRPr sz="16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546173EB-52B9-48BC-A028-A66CBFD134D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fld id="{52CF4C92-67B2-4054-957B-7926FFE6160C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7EBFD3CE-66E8-4D85-4C1D-FEE3708BA2B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87337" y="915988"/>
            <a:ext cx="4213226" cy="1800225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A59C584C-8161-2AAB-131C-5A06800DC5D9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679952" y="915988"/>
            <a:ext cx="4212529" cy="1800225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413049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2"/>
          <p:cNvSpPr>
            <a:spLocks noGrp="1"/>
          </p:cNvSpPr>
          <p:nvPr>
            <p:ph sz="quarter" idx="11"/>
          </p:nvPr>
        </p:nvSpPr>
        <p:spPr>
          <a:xfrm>
            <a:off x="287524" y="915988"/>
            <a:ext cx="4212468" cy="365398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800" kern="100" baseline="0">
                <a:latin typeface="+mn-lt"/>
              </a:defRPr>
            </a:lvl1pPr>
            <a:lvl2pPr marL="532800" indent="-2592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800" kern="100">
                <a:latin typeface="+mn-lt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800" kern="100">
                <a:latin typeface="+mn-lt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800" kern="100">
                <a:latin typeface="+mn-lt"/>
              </a:defRPr>
            </a:lvl4pPr>
            <a:lvl5pPr marL="1332000" indent="-228600">
              <a:buClr>
                <a:schemeClr val="accent1"/>
              </a:buClr>
              <a:buFont typeface="Wingdings" pitchFamily="2" charset="2"/>
              <a:buChar char="§"/>
              <a:defRPr sz="1800">
                <a:latin typeface="+mn-lt"/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11" name="Inhaltsplatzhalter 2"/>
          <p:cNvSpPr>
            <a:spLocks noGrp="1"/>
          </p:cNvSpPr>
          <p:nvPr>
            <p:ph sz="quarter" idx="16"/>
          </p:nvPr>
        </p:nvSpPr>
        <p:spPr>
          <a:xfrm>
            <a:off x="4680012" y="915988"/>
            <a:ext cx="4210050" cy="365372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800" kern="100" baseline="0">
                <a:latin typeface="+mn-lt"/>
              </a:defRPr>
            </a:lvl1pPr>
            <a:lvl2pPr marL="532800" indent="-2592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800" kern="100">
                <a:latin typeface="+mn-lt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800" kern="100">
                <a:latin typeface="+mn-lt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800" kern="100">
                <a:latin typeface="+mn-lt"/>
              </a:defRPr>
            </a:lvl4pPr>
            <a:lvl5pPr marL="1332000" indent="-228600">
              <a:buClr>
                <a:schemeClr val="accent1"/>
              </a:buClr>
              <a:buFont typeface="Wingdings" pitchFamily="2" charset="2"/>
              <a:buChar char="§"/>
              <a:defRPr sz="1800">
                <a:latin typeface="+mn-lt"/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64530288-53EE-4AD5-BD86-D9355ACD64A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fld id="{B79FD21F-8BA3-4A63-B886-0B5317CA334F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40192676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Inhaltsplatzhalter 3"/>
          <p:cNvSpPr>
            <a:spLocks noGrp="1"/>
          </p:cNvSpPr>
          <p:nvPr>
            <p:ph sz="quarter" idx="19"/>
          </p:nvPr>
        </p:nvSpPr>
        <p:spPr>
          <a:xfrm>
            <a:off x="287521" y="915520"/>
            <a:ext cx="2015941" cy="17824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2" name="Inhaltsplatzhalter 3"/>
          <p:cNvSpPr>
            <a:spLocks noGrp="1"/>
          </p:cNvSpPr>
          <p:nvPr>
            <p:ph sz="quarter" idx="26"/>
          </p:nvPr>
        </p:nvSpPr>
        <p:spPr>
          <a:xfrm>
            <a:off x="2484885" y="915988"/>
            <a:ext cx="2016000" cy="17824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3" name="Inhaltsplatzhalter 3"/>
          <p:cNvSpPr>
            <a:spLocks noGrp="1"/>
          </p:cNvSpPr>
          <p:nvPr>
            <p:ph sz="quarter" idx="27"/>
          </p:nvPr>
        </p:nvSpPr>
        <p:spPr>
          <a:xfrm>
            <a:off x="4680520" y="915520"/>
            <a:ext cx="2016000" cy="17824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4" name="Inhaltsplatzhalter 3"/>
          <p:cNvSpPr>
            <a:spLocks noGrp="1"/>
          </p:cNvSpPr>
          <p:nvPr>
            <p:ph sz="quarter" idx="28"/>
          </p:nvPr>
        </p:nvSpPr>
        <p:spPr>
          <a:xfrm>
            <a:off x="6877050" y="915520"/>
            <a:ext cx="2016125" cy="17824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5" name="Inhaltsplatzhalter 3"/>
          <p:cNvSpPr>
            <a:spLocks noGrp="1"/>
          </p:cNvSpPr>
          <p:nvPr>
            <p:ph sz="quarter" idx="29"/>
          </p:nvPr>
        </p:nvSpPr>
        <p:spPr>
          <a:xfrm>
            <a:off x="288899" y="2833196"/>
            <a:ext cx="2014563" cy="172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6" name="Inhaltsplatzhalter 3"/>
          <p:cNvSpPr>
            <a:spLocks noGrp="1"/>
          </p:cNvSpPr>
          <p:nvPr>
            <p:ph sz="quarter" idx="30"/>
          </p:nvPr>
        </p:nvSpPr>
        <p:spPr>
          <a:xfrm>
            <a:off x="2483991" y="2833196"/>
            <a:ext cx="2016000" cy="172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7" name="Inhaltsplatzhalter 3"/>
          <p:cNvSpPr>
            <a:spLocks noGrp="1"/>
          </p:cNvSpPr>
          <p:nvPr>
            <p:ph sz="quarter" idx="31"/>
          </p:nvPr>
        </p:nvSpPr>
        <p:spPr>
          <a:xfrm>
            <a:off x="4680520" y="2833196"/>
            <a:ext cx="2016000" cy="172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8" name="Inhaltsplatzhalter 3"/>
          <p:cNvSpPr>
            <a:spLocks noGrp="1"/>
          </p:cNvSpPr>
          <p:nvPr>
            <p:ph sz="quarter" idx="32"/>
          </p:nvPr>
        </p:nvSpPr>
        <p:spPr>
          <a:xfrm>
            <a:off x="6877050" y="2833196"/>
            <a:ext cx="2016125" cy="172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CE1DC342-D4B6-4B97-A7B4-AA77D0DEA603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>
            <a:lvl1pPr>
              <a:defRPr/>
            </a:lvl1pPr>
          </a:lstStyle>
          <a:p>
            <a:fld id="{6E77ADC9-8C8D-4B28-AC3B-3CBD9F328BFD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0239766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imag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Inhaltsplatzhalter 3"/>
          <p:cNvSpPr>
            <a:spLocks noGrp="1"/>
          </p:cNvSpPr>
          <p:nvPr>
            <p:ph sz="quarter" idx="29"/>
          </p:nvPr>
        </p:nvSpPr>
        <p:spPr>
          <a:xfrm>
            <a:off x="288899" y="2833196"/>
            <a:ext cx="2014563" cy="172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6" name="Inhaltsplatzhalter 3"/>
          <p:cNvSpPr>
            <a:spLocks noGrp="1"/>
          </p:cNvSpPr>
          <p:nvPr>
            <p:ph sz="quarter" idx="30"/>
          </p:nvPr>
        </p:nvSpPr>
        <p:spPr>
          <a:xfrm>
            <a:off x="2483991" y="2833196"/>
            <a:ext cx="2016000" cy="172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7" name="Inhaltsplatzhalter 3"/>
          <p:cNvSpPr>
            <a:spLocks noGrp="1"/>
          </p:cNvSpPr>
          <p:nvPr>
            <p:ph sz="quarter" idx="31"/>
          </p:nvPr>
        </p:nvSpPr>
        <p:spPr>
          <a:xfrm>
            <a:off x="4680520" y="2833196"/>
            <a:ext cx="2016000" cy="172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8" name="Inhaltsplatzhalter 3"/>
          <p:cNvSpPr>
            <a:spLocks noGrp="1"/>
          </p:cNvSpPr>
          <p:nvPr>
            <p:ph sz="quarter" idx="32"/>
          </p:nvPr>
        </p:nvSpPr>
        <p:spPr>
          <a:xfrm>
            <a:off x="6877050" y="2833196"/>
            <a:ext cx="2016125" cy="172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400" baseline="0">
                <a:latin typeface="Calibri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CE1DC342-D4B6-4B97-A7B4-AA77D0DEA603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>
            <a:lvl1pPr>
              <a:defRPr/>
            </a:lvl1pPr>
          </a:lstStyle>
          <a:p>
            <a:fld id="{6E77ADC9-8C8D-4B28-AC3B-3CBD9F328BFD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14" name="Bildplatzhalter 3">
            <a:extLst>
              <a:ext uri="{FF2B5EF4-FFF2-40B4-BE49-F238E27FC236}">
                <a16:creationId xmlns:a16="http://schemas.microsoft.com/office/drawing/2014/main" id="{0AB4D4D4-D0F6-0DC7-7FBB-9EB7509C5A67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287521" y="915519"/>
            <a:ext cx="2015941" cy="178241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5">
            <a:extLst>
              <a:ext uri="{FF2B5EF4-FFF2-40B4-BE49-F238E27FC236}">
                <a16:creationId xmlns:a16="http://schemas.microsoft.com/office/drawing/2014/main" id="{1E827F77-E3D8-9C1F-6FCD-8E55B7A5EE7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484885" y="915988"/>
            <a:ext cx="2016000" cy="178241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Bildplatzhalter 5">
            <a:extLst>
              <a:ext uri="{FF2B5EF4-FFF2-40B4-BE49-F238E27FC236}">
                <a16:creationId xmlns:a16="http://schemas.microsoft.com/office/drawing/2014/main" id="{E42C4BA7-01D1-1434-0872-A9B3DBF4C3E7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4680520" y="915520"/>
            <a:ext cx="2016000" cy="178241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0" name="Bildplatzhalter 5">
            <a:extLst>
              <a:ext uri="{FF2B5EF4-FFF2-40B4-BE49-F238E27FC236}">
                <a16:creationId xmlns:a16="http://schemas.microsoft.com/office/drawing/2014/main" id="{BC4949FA-109D-12FB-D3E5-A70DBD3C8C19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6877050" y="915520"/>
            <a:ext cx="2016125" cy="1782412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951473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nje\Desktop\Logos WMF und EMF\1000_SIK_Logo_ClaimR_NO_ARTWORK_RGB.wmf">
            <a:extLst>
              <a:ext uri="{FF2B5EF4-FFF2-40B4-BE49-F238E27FC236}">
                <a16:creationId xmlns:a16="http://schemas.microsoft.com/office/drawing/2014/main" id="{2FC30D2F-5EF7-4932-8B7C-1BD7A35F99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4650" y="4264025"/>
            <a:ext cx="2168525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288000" y="195262"/>
            <a:ext cx="8604000" cy="2970000"/>
          </a:xfrm>
          <a:prstGeom prst="rect">
            <a:avLst/>
          </a:prstGeom>
        </p:spPr>
        <p:txBody>
          <a:bodyPr lIns="0" tIns="0" rIns="0" bIns="0"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288000" y="3253500"/>
            <a:ext cx="8604000" cy="39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kern="1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288000" y="3690900"/>
            <a:ext cx="6516688" cy="8104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kern="1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7049216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forma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A89E5FD-8F46-17EE-70DE-E7CA699C6BC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Foliennummernplatzhalter 5">
            <a:extLst>
              <a:ext uri="{FF2B5EF4-FFF2-40B4-BE49-F238E27FC236}">
                <a16:creationId xmlns:a16="http://schemas.microsoft.com/office/drawing/2014/main" id="{3D991747-5716-4B1E-8490-9455666F570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51A6031-E009-4B15-BEEA-54A17681C2C6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3609815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ull forma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175310"/>
            <a:ext cx="8605837" cy="322106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en-US"/>
              <a:t>click to edit master</a:t>
            </a:r>
            <a:endParaRPr lang="de-CH"/>
          </a:p>
        </p:txBody>
      </p:sp>
      <p:sp>
        <p:nvSpPr>
          <p:cNvPr id="3" name="Foliennummernplatzhalter 5" hidden="1">
            <a:extLst>
              <a:ext uri="{FF2B5EF4-FFF2-40B4-BE49-F238E27FC236}">
                <a16:creationId xmlns:a16="http://schemas.microsoft.com/office/drawing/2014/main" id="{3D991747-5716-4B1E-8490-9455666F570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51A6031-E009-4B15-BEEA-54A17681C2C6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8" name="Grau">
            <a:extLst>
              <a:ext uri="{FF2B5EF4-FFF2-40B4-BE49-F238E27FC236}">
                <a16:creationId xmlns:a16="http://schemas.microsoft.com/office/drawing/2014/main" id="{80C2016B-2893-1155-0FA0-EDB765A844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37" y="482366"/>
            <a:ext cx="8605837" cy="322106"/>
          </a:xfrm>
        </p:spPr>
        <p:txBody>
          <a:bodyPr lIns="0" tIns="0" rIns="0" bIns="0"/>
          <a:lstStyle>
            <a:lvl1pPr marL="0" indent="0">
              <a:lnSpc>
                <a:spcPts val="2400"/>
              </a:lnSpc>
              <a:spcBef>
                <a:spcPts val="0"/>
              </a:spcBef>
              <a:buNone/>
              <a:defRPr lang="de-CH" sz="2400" kern="1200" cap="all" dirty="0">
                <a:solidFill>
                  <a:srgbClr val="7C7C7C"/>
                </a:solidFill>
                <a:latin typeface="+mj-lt"/>
                <a:ea typeface="+mj-ea"/>
                <a:cs typeface="+mj-cs"/>
              </a:defRPr>
            </a:lvl1pPr>
            <a:lvl2pPr marL="261938" indent="0">
              <a:buNone/>
              <a:defRPr sz="1100"/>
            </a:lvl2pPr>
            <a:lvl3pPr marL="534988" indent="0">
              <a:buFont typeface="Arial" panose="020B0604020202020204" pitchFamily="34" charset="0"/>
              <a:buNone/>
              <a:defRPr sz="1100"/>
            </a:lvl3pPr>
            <a:lvl4pPr marL="809625" indent="0">
              <a:buNone/>
              <a:defRPr sz="1100"/>
            </a:lvl4pPr>
            <a:lvl5pPr marL="1062038" indent="0">
              <a:buNone/>
              <a:defRPr sz="1100"/>
            </a:lvl5pPr>
          </a:lstStyle>
          <a:p>
            <a:pPr lvl="0"/>
            <a:r>
              <a:rPr lang="de-DE" err="1"/>
              <a:t>click</a:t>
            </a:r>
            <a:r>
              <a:rPr lang="de-DE"/>
              <a:t> to </a:t>
            </a:r>
            <a:r>
              <a:rPr lang="de-DE" err="1"/>
              <a:t>edit</a:t>
            </a:r>
            <a:r>
              <a:rPr lang="de-DE"/>
              <a:t> </a:t>
            </a:r>
            <a:r>
              <a:rPr lang="de-DE" err="1"/>
              <a:t>maste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782103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2"/>
          <p:cNvSpPr>
            <a:spLocks noGrp="1"/>
          </p:cNvSpPr>
          <p:nvPr>
            <p:ph sz="quarter" idx="11"/>
          </p:nvPr>
        </p:nvSpPr>
        <p:spPr>
          <a:xfrm>
            <a:off x="287523" y="915989"/>
            <a:ext cx="6408552" cy="365363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70000" indent="-27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800" kern="100" baseline="0">
                <a:latin typeface="+mn-lt"/>
              </a:defRPr>
            </a:lvl1pPr>
            <a:lvl2pPr marL="532800" indent="-2592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800" kern="100">
                <a:latin typeface="+mn-lt"/>
              </a:defRPr>
            </a:lvl2pPr>
            <a:lvl3pPr marL="8064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defRPr sz="1800" kern="100">
                <a:latin typeface="+mn-lt"/>
              </a:defRPr>
            </a:lvl3pPr>
            <a:lvl4pPr marL="1080000" indent="-270000">
              <a:lnSpc>
                <a:spcPct val="90000"/>
              </a:lnSpc>
              <a:buClr>
                <a:srgbClr val="EFB900"/>
              </a:buClr>
              <a:buFont typeface="Wingdings" pitchFamily="2" charset="2"/>
              <a:buChar char="§"/>
              <a:tabLst/>
              <a:defRPr sz="1800" kern="100">
                <a:latin typeface="+mn-lt"/>
              </a:defRPr>
            </a:lvl4pPr>
            <a:lvl5pPr marL="1332000" indent="-228600">
              <a:buClr>
                <a:schemeClr val="accent1"/>
              </a:buClr>
              <a:buFont typeface="Wingdings" pitchFamily="2" charset="2"/>
              <a:buChar char="§"/>
              <a:defRPr sz="1800">
                <a:latin typeface="+mn-lt"/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11" name="Inhaltsplatzhalter 2"/>
          <p:cNvSpPr>
            <a:spLocks noGrp="1"/>
          </p:cNvSpPr>
          <p:nvPr>
            <p:ph sz="quarter" idx="12"/>
          </p:nvPr>
        </p:nvSpPr>
        <p:spPr>
          <a:xfrm>
            <a:off x="6877051" y="915988"/>
            <a:ext cx="2016125" cy="3653631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90000"/>
              </a:lnSpc>
              <a:spcBef>
                <a:spcPts val="384"/>
              </a:spcBef>
              <a:buClr>
                <a:srgbClr val="EFB900"/>
              </a:buClr>
              <a:buFont typeface="Wingdings" pitchFamily="2" charset="2"/>
              <a:buChar char="§"/>
              <a:defRPr sz="1400" kern="100" baseline="0">
                <a:latin typeface="+mn-lt"/>
              </a:defRPr>
            </a:lvl1pPr>
            <a:lvl2pPr marL="360000" indent="-180000">
              <a:lnSpc>
                <a:spcPct val="90000"/>
              </a:lnSpc>
              <a:spcBef>
                <a:spcPts val="336"/>
              </a:spcBef>
              <a:buClr>
                <a:srgbClr val="EFB900"/>
              </a:buClr>
              <a:buFont typeface="Wingdings" pitchFamily="2" charset="2"/>
              <a:buChar char="§"/>
              <a:defRPr sz="1400" kern="100">
                <a:latin typeface="+mn-lt"/>
              </a:defRPr>
            </a:lvl2pPr>
            <a:lvl3pPr marL="540000" indent="-180000">
              <a:lnSpc>
                <a:spcPct val="90000"/>
              </a:lnSpc>
              <a:spcBef>
                <a:spcPts val="336"/>
              </a:spcBef>
              <a:buClr>
                <a:srgbClr val="EFB900"/>
              </a:buClr>
              <a:buFont typeface="Wingdings" pitchFamily="2" charset="2"/>
              <a:buChar char="§"/>
              <a:defRPr sz="1400" kern="100">
                <a:latin typeface="+mn-lt"/>
              </a:defRPr>
            </a:lvl3pPr>
            <a:lvl4pPr marL="720000" indent="-180000">
              <a:lnSpc>
                <a:spcPct val="90000"/>
              </a:lnSpc>
              <a:spcBef>
                <a:spcPts val="336"/>
              </a:spcBef>
              <a:buClr>
                <a:srgbClr val="EFB900"/>
              </a:buClr>
              <a:buFont typeface="Wingdings" pitchFamily="2" charset="2"/>
              <a:buChar char="§"/>
              <a:tabLst/>
              <a:defRPr sz="1400" kern="100">
                <a:latin typeface="+mn-lt"/>
              </a:defRPr>
            </a:lvl4pPr>
            <a:lvl5pPr marL="900000" indent="-180000">
              <a:lnSpc>
                <a:spcPct val="90000"/>
              </a:lnSpc>
              <a:spcBef>
                <a:spcPts val="336"/>
              </a:spcBef>
              <a:buClr>
                <a:schemeClr val="accent1"/>
              </a:buClr>
              <a:buFont typeface="Wingdings" pitchFamily="2" charset="2"/>
              <a:buChar char="§"/>
              <a:defRPr sz="1400">
                <a:latin typeface="+mn-lt"/>
              </a:defRPr>
            </a:lvl5pPr>
            <a:lvl6pPr marL="1077913" indent="-180975">
              <a:lnSpc>
                <a:spcPct val="90000"/>
              </a:lnSpc>
              <a:spcBef>
                <a:spcPts val="336"/>
              </a:spcBef>
              <a:defRPr sz="1400"/>
            </a:lvl6pPr>
            <a:lvl7pPr marL="1260000" indent="-180000">
              <a:lnSpc>
                <a:spcPct val="90000"/>
              </a:lnSpc>
              <a:spcBef>
                <a:spcPts val="336"/>
              </a:spcBef>
              <a:defRPr sz="1400"/>
            </a:lvl7pPr>
            <a:lvl8pPr marL="1440000" indent="-180000">
              <a:lnSpc>
                <a:spcPct val="90000"/>
              </a:lnSpc>
              <a:spcBef>
                <a:spcPts val="336"/>
              </a:spcBef>
              <a:defRPr sz="1400"/>
            </a:lvl8pPr>
            <a:lvl9pPr marL="1620000" indent="-180000">
              <a:lnSpc>
                <a:spcPct val="90000"/>
              </a:lnSpc>
              <a:spcBef>
                <a:spcPts val="336"/>
              </a:spcBef>
              <a:defRPr sz="14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138EDF98-F6A4-46CB-ACED-EF77DC747B3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fld id="{C01587BC-9F1E-477B-A10E-5A02507F9F94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31C289D-604B-2CB6-CD46-8A45907E12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338" y="268288"/>
            <a:ext cx="8605837" cy="523875"/>
          </a:xfrm>
        </p:spPr>
        <p:txBody>
          <a:bodyPr anchor="b" anchorCtr="0"/>
          <a:lstStyle>
            <a:lvl1pPr>
              <a:defRPr/>
            </a:lvl1pPr>
          </a:lstStyle>
          <a:p>
            <a:r>
              <a:rPr lang="en-US"/>
              <a:t>click to edit master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271762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nje\Desktop\Logos WMF und EMF\1000_SIK_Logo_ClaimR_NO_ARTWORK_RGB.wmf">
            <a:extLst>
              <a:ext uri="{FF2B5EF4-FFF2-40B4-BE49-F238E27FC236}">
                <a16:creationId xmlns:a16="http://schemas.microsoft.com/office/drawing/2014/main" id="{CC041923-6713-43A3-8590-9A95951A4E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3775" y="4433888"/>
            <a:ext cx="1549400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Bildplatzhalter 5"/>
          <p:cNvSpPr>
            <a:spLocks noGrp="1"/>
          </p:cNvSpPr>
          <p:nvPr>
            <p:ph type="pic" sz="quarter" idx="12"/>
          </p:nvPr>
        </p:nvSpPr>
        <p:spPr>
          <a:xfrm>
            <a:off x="286134" y="195486"/>
            <a:ext cx="8606346" cy="1998222"/>
          </a:xfrm>
          <a:prstGeom prst="rect">
            <a:avLst/>
          </a:prstGeom>
        </p:spPr>
        <p:txBody>
          <a:bodyPr lIns="0" tIns="0" rIns="0" bIns="0"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en-US" noProof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287524" y="2281861"/>
            <a:ext cx="8604956" cy="37809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de-DE" sz="3200" cap="all" smtClean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157899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id-alignm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A94182B5-CB76-4E5A-B79A-4A928B16382F}"/>
              </a:ext>
            </a:extLst>
          </p:cNvPr>
          <p:cNvCxnSpPr/>
          <p:nvPr/>
        </p:nvCxnSpPr>
        <p:spPr>
          <a:xfrm>
            <a:off x="0" y="192088"/>
            <a:ext cx="9144000" cy="0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4E7DFE7-5F74-41F0-8242-5B7DCB3CBA94}"/>
              </a:ext>
            </a:extLst>
          </p:cNvPr>
          <p:cNvCxnSpPr/>
          <p:nvPr/>
        </p:nvCxnSpPr>
        <p:spPr>
          <a:xfrm>
            <a:off x="0" y="987425"/>
            <a:ext cx="9144000" cy="0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450290C-05B0-4D13-BDC6-39F6805B660A}"/>
              </a:ext>
            </a:extLst>
          </p:cNvPr>
          <p:cNvCxnSpPr/>
          <p:nvPr/>
        </p:nvCxnSpPr>
        <p:spPr>
          <a:xfrm>
            <a:off x="0" y="4568825"/>
            <a:ext cx="9144000" cy="0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6FEAE61-8CD6-442F-AEBB-E974B7F3E716}"/>
              </a:ext>
            </a:extLst>
          </p:cNvPr>
          <p:cNvCxnSpPr/>
          <p:nvPr/>
        </p:nvCxnSpPr>
        <p:spPr>
          <a:xfrm>
            <a:off x="0" y="4946650"/>
            <a:ext cx="9144000" cy="0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40D95B4-5DB5-40B6-8416-6B8197210007}"/>
              </a:ext>
            </a:extLst>
          </p:cNvPr>
          <p:cNvCxnSpPr/>
          <p:nvPr/>
        </p:nvCxnSpPr>
        <p:spPr>
          <a:xfrm>
            <a:off x="285750" y="-1588"/>
            <a:ext cx="0" cy="51435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2553841-2EBD-43CC-8C44-AAFCD69A07C4}"/>
              </a:ext>
            </a:extLst>
          </p:cNvPr>
          <p:cNvCxnSpPr/>
          <p:nvPr/>
        </p:nvCxnSpPr>
        <p:spPr>
          <a:xfrm>
            <a:off x="2301875" y="-1588"/>
            <a:ext cx="0" cy="51435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4BD01AF-CEBA-4EFC-B6D3-A24325E75304}"/>
              </a:ext>
            </a:extLst>
          </p:cNvPr>
          <p:cNvCxnSpPr/>
          <p:nvPr/>
        </p:nvCxnSpPr>
        <p:spPr>
          <a:xfrm>
            <a:off x="2484438" y="-1588"/>
            <a:ext cx="0" cy="51435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75CD035-DE4F-4847-8524-DF4B88A8050B}"/>
              </a:ext>
            </a:extLst>
          </p:cNvPr>
          <p:cNvCxnSpPr/>
          <p:nvPr/>
        </p:nvCxnSpPr>
        <p:spPr>
          <a:xfrm>
            <a:off x="4498975" y="-1588"/>
            <a:ext cx="0" cy="51435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C5B5BA6-95C8-498C-A9FC-049E13D60EF9}"/>
              </a:ext>
            </a:extLst>
          </p:cNvPr>
          <p:cNvCxnSpPr/>
          <p:nvPr/>
        </p:nvCxnSpPr>
        <p:spPr>
          <a:xfrm>
            <a:off x="4679950" y="-1588"/>
            <a:ext cx="0" cy="51435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0B50295-5304-4A78-8E8B-B5BF098A1FB0}"/>
              </a:ext>
            </a:extLst>
          </p:cNvPr>
          <p:cNvCxnSpPr/>
          <p:nvPr/>
        </p:nvCxnSpPr>
        <p:spPr>
          <a:xfrm>
            <a:off x="6694488" y="-1588"/>
            <a:ext cx="0" cy="51435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A6BB3D1-04AB-4F31-B5D3-706140051EB8}"/>
              </a:ext>
            </a:extLst>
          </p:cNvPr>
          <p:cNvCxnSpPr/>
          <p:nvPr/>
        </p:nvCxnSpPr>
        <p:spPr>
          <a:xfrm>
            <a:off x="6875463" y="-1588"/>
            <a:ext cx="0" cy="51435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888B6E1-605A-4B36-A160-55E0304586B6}"/>
              </a:ext>
            </a:extLst>
          </p:cNvPr>
          <p:cNvCxnSpPr/>
          <p:nvPr/>
        </p:nvCxnSpPr>
        <p:spPr>
          <a:xfrm>
            <a:off x="8891588" y="-1588"/>
            <a:ext cx="0" cy="5143501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1DA1A0F6-CA7B-450B-A9B4-C9D4201A5483}"/>
              </a:ext>
            </a:extLst>
          </p:cNvPr>
          <p:cNvSpPr/>
          <p:nvPr/>
        </p:nvSpPr>
        <p:spPr>
          <a:xfrm rot="20415216">
            <a:off x="1103778" y="912100"/>
            <a:ext cx="6498895" cy="31700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000" b="1">
                <a:ln w="12700">
                  <a:solidFill>
                    <a:srgbClr val="FF0000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cs typeface="+mn-cs"/>
              </a:rPr>
              <a:t>This layout is to help you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000" b="1">
                <a:ln w="12700">
                  <a:solidFill>
                    <a:srgbClr val="FF0000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cs typeface="+mn-cs"/>
              </a:rPr>
              <a:t>re-align the guidelines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000" b="1">
                <a:ln w="12700">
                  <a:solidFill>
                    <a:srgbClr val="FF0000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cs typeface="+mn-cs"/>
              </a:rPr>
              <a:t>according to the </a:t>
            </a:r>
            <a:r>
              <a:rPr lang="en-US" sz="4000" b="1" err="1">
                <a:ln w="12700">
                  <a:solidFill>
                    <a:srgbClr val="FF0000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cs typeface="+mn-cs"/>
              </a:rPr>
              <a:t>Sika</a:t>
            </a:r>
            <a:r>
              <a:rPr lang="en-US" sz="4000" b="1">
                <a:ln w="12700">
                  <a:solidFill>
                    <a:srgbClr val="FF0000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cs typeface="+mn-cs"/>
              </a:rPr>
              <a:t> grid.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000" b="1">
                <a:ln w="12700">
                  <a:solidFill>
                    <a:srgbClr val="FF0000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cs typeface="+mn-cs"/>
              </a:rPr>
              <a:t>Tip: Adjust the guidelines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000" b="1">
                <a:ln w="12700">
                  <a:solidFill>
                    <a:srgbClr val="FF0000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n-lt"/>
                <a:cs typeface="+mn-cs"/>
              </a:rPr>
              <a:t>in maximum zoomed-in view!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6F319AF-1500-4E17-8181-3974C0BED33D}"/>
              </a:ext>
            </a:extLst>
          </p:cNvPr>
          <p:cNvCxnSpPr/>
          <p:nvPr/>
        </p:nvCxnSpPr>
        <p:spPr>
          <a:xfrm>
            <a:off x="0" y="700088"/>
            <a:ext cx="9144000" cy="0"/>
          </a:xfrm>
          <a:prstGeom prst="line">
            <a:avLst/>
          </a:prstGeom>
          <a:ln w="31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38542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nje\Desktop\Logos WMF und EMF\1000_SIK_Logo_ClaimR_NO_ARTWORK_RGB.wmf">
            <a:extLst>
              <a:ext uri="{FF2B5EF4-FFF2-40B4-BE49-F238E27FC236}">
                <a16:creationId xmlns:a16="http://schemas.microsoft.com/office/drawing/2014/main" id="{9E8EB93B-68C6-424A-BDDA-57F11FD6A2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4650" y="4264025"/>
            <a:ext cx="2168525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288000" y="1032272"/>
            <a:ext cx="8604000" cy="153947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288000" y="2639777"/>
            <a:ext cx="8604000" cy="135016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148713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Grey">
    <p:bg>
      <p:bgPr>
        <a:solidFill>
          <a:srgbClr val="C0C5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nje\Desktop\Logos WMF und EMF\1000_SIK_Logo_ClaimR_NO_ARTWORK_RGB.wmf">
            <a:extLst>
              <a:ext uri="{FF2B5EF4-FFF2-40B4-BE49-F238E27FC236}">
                <a16:creationId xmlns:a16="http://schemas.microsoft.com/office/drawing/2014/main" id="{FF8839E8-6956-4A90-9CAA-58865BA055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4650" y="4264025"/>
            <a:ext cx="2168525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288000" y="1032272"/>
            <a:ext cx="8604000" cy="153947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288000" y="2639777"/>
            <a:ext cx="8604000" cy="135016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cap="all" baseline="0"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520025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>
            <a:spLocks noGrp="1"/>
          </p:cNvSpPr>
          <p:nvPr>
            <p:ph sz="quarter" idx="11"/>
          </p:nvPr>
        </p:nvSpPr>
        <p:spPr>
          <a:xfrm>
            <a:off x="287338" y="1518632"/>
            <a:ext cx="8605142" cy="305098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-457200">
              <a:lnSpc>
                <a:spcPct val="90000"/>
              </a:lnSpc>
              <a:spcBef>
                <a:spcPts val="0"/>
              </a:spcBef>
              <a:buClrTx/>
              <a:buFont typeface="Wingdings" charset="2"/>
              <a:buAutoNum type="arabicPlain"/>
              <a:tabLst>
                <a:tab pos="5207000" algn="r"/>
                <a:tab pos="6369050" algn="r"/>
              </a:tabLst>
              <a:defRPr sz="1800" b="1" i="0" kern="100" cap="all" baseline="0"/>
            </a:lvl1pPr>
            <a:lvl2pPr marL="742950" indent="-285750">
              <a:buClr>
                <a:srgbClr val="EFB900"/>
              </a:buClr>
              <a:buFont typeface="Wingdings" pitchFamily="2" charset="2"/>
              <a:buChar char="§"/>
              <a:defRPr sz="2000"/>
            </a:lvl2pPr>
            <a:lvl3pPr marL="1143000" indent="-228600">
              <a:buClr>
                <a:srgbClr val="EFB900"/>
              </a:buClr>
              <a:buFont typeface="Wingdings" pitchFamily="2" charset="2"/>
              <a:buChar char="§"/>
              <a:defRPr sz="2000"/>
            </a:lvl3pPr>
            <a:lvl4pPr marL="1600200" indent="-228600">
              <a:buClr>
                <a:srgbClr val="EFB900"/>
              </a:buClr>
              <a:buFont typeface="Wingdings" pitchFamily="2" charset="2"/>
              <a:buChar char="§"/>
              <a:defRPr sz="2000"/>
            </a:lvl4pPr>
            <a:lvl5pPr marL="2057400" indent="-228600">
              <a:buClr>
                <a:srgbClr val="EFB900"/>
              </a:buClr>
              <a:buFont typeface="Wingdings" pitchFamily="2" charset="2"/>
              <a:buChar char="§"/>
              <a:defRPr sz="2000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Foliennummernplatzhalter 5">
            <a:extLst>
              <a:ext uri="{FF2B5EF4-FFF2-40B4-BE49-F238E27FC236}">
                <a16:creationId xmlns:a16="http://schemas.microsoft.com/office/drawing/2014/main" id="{C10E82C7-818E-4011-B4A1-69F5897708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1C711AF-E905-4983-8248-7DD19E492DE7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9495934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F758621-DD53-47A4-B1F8-3E8AD16386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574DB64-94C2-4F1B-9FB8-C4899DD18771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82C432C4-F03A-9354-DBB7-A30BF067F3A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87338" y="915988"/>
            <a:ext cx="8605837" cy="3654425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92807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hite 14p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F758621-DD53-47A4-B1F8-3E8AD16386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574DB64-94C2-4F1B-9FB8-C4899DD18771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7E86869-DB92-4BE9-9220-8282DD0C192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CH"/>
          </a:p>
        </p:txBody>
      </p:sp>
      <p:sp>
        <p:nvSpPr>
          <p:cNvPr id="7" name="Marcador de pie de página 6">
            <a:extLst>
              <a:ext uri="{FF2B5EF4-FFF2-40B4-BE49-F238E27FC236}">
                <a16:creationId xmlns:a16="http://schemas.microsoft.com/office/drawing/2014/main" id="{5C9B2F54-7B5E-309F-F6A6-17BB441280F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s-ES"/>
              <a:t>ESTE DOCUEMNTO ES DE CARÁCTER INFORMATIVO, PUEDE OBTENER INFORMACIÓN MAS DETALLADA CONSULTANDO EL CODIGO SIKA S.A.U. ESPAÑA. - CONSULTE EL SERVICIO TECNICO DE SIKA PREVIAMENTE A LA UTILIZACIÓN DE LOS PRODUCTOS SIKA.</a:t>
            </a:r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5F56939B-100C-7693-6068-68FBFF18FB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3942909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hite 18pt bol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F758621-DD53-47A4-B1F8-3E8AD16386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574DB64-94C2-4F1B-9FB8-C4899DD18771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7E86869-DB92-4BE9-9220-8282DD0C192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25251354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hite 18p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F758621-DD53-47A4-B1F8-3E8AD16386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574DB64-94C2-4F1B-9FB8-C4899DD18771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7E86869-DB92-4BE9-9220-8282DD0C192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8071239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Relationship Id="rId30" Type="http://schemas.openxmlformats.org/officeDocument/2006/relationships/image" Target="../media/image2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473838-C16B-4E17-A0F1-1B5870DFF2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340930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473838-C16B-4E17-A0F1-1B5870DFF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36681E4-E79E-4A0D-A116-71C4BB4EC4F1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oliennummernplatzhalter 5">
            <a:extLst>
              <a:ext uri="{FF2B5EF4-FFF2-40B4-BE49-F238E27FC236}">
                <a16:creationId xmlns:a16="http://schemas.microsoft.com/office/drawing/2014/main" id="{2D88AF61-FBC3-4425-A3CE-A66A643DAC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87338" y="4921250"/>
            <a:ext cx="323850" cy="80963"/>
          </a:xfrm>
          <a:prstGeom prst="rect">
            <a:avLst/>
          </a:prstGeom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/>
            </a:lvl1pPr>
          </a:lstStyle>
          <a:p>
            <a:fld id="{FF8603F1-E04A-4D9F-8205-676DC5DF1FED}" type="slidenum">
              <a:rPr lang="en-US" altLang="de-DE"/>
              <a:pPr/>
              <a:t>‹Nº›</a:t>
            </a:fld>
            <a:r>
              <a:rPr lang="en-GB" altLang="de-DE"/>
              <a:t>  </a:t>
            </a:r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22C99677-474A-4ACD-90AE-A6FF3B5A0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268288"/>
            <a:ext cx="8605837" cy="5238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028" name="Text Placeholder 8">
            <a:extLst>
              <a:ext uri="{FF2B5EF4-FFF2-40B4-BE49-F238E27FC236}">
                <a16:creationId xmlns:a16="http://schemas.microsoft.com/office/drawing/2014/main" id="{25A545CC-1060-4A71-8EC8-CA6100312868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287338" y="915988"/>
            <a:ext cx="8605837" cy="3654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/>
              <a:t>Mastertextformat bearbeiten</a:t>
            </a:r>
          </a:p>
          <a:p>
            <a:pPr lvl="1"/>
            <a:r>
              <a:rPr lang="de-DE" altLang="en-US"/>
              <a:t>Zweite Ebene</a:t>
            </a:r>
          </a:p>
          <a:p>
            <a:pPr lvl="2"/>
            <a:r>
              <a:rPr lang="de-DE" altLang="en-US"/>
              <a:t>Dritte Ebene</a:t>
            </a:r>
          </a:p>
          <a:p>
            <a:pPr lvl="3"/>
            <a:r>
              <a:rPr lang="de-DE" altLang="en-US"/>
              <a:t>Vierte Ebene</a:t>
            </a:r>
          </a:p>
          <a:p>
            <a:pPr lvl="4"/>
            <a:r>
              <a:rPr lang="de-DE" altLang="en-US"/>
              <a:t>Fünfte Ebene</a:t>
            </a:r>
            <a:endParaRPr lang="de-CH" altLang="en-US"/>
          </a:p>
        </p:txBody>
      </p:sp>
      <p:pic>
        <p:nvPicPr>
          <p:cNvPr id="1029" name="Picture 2" descr="C:\Users\nje\Desktop\Logos WMF und EMF\1000_SIK_Logo_ClaimR_NO_ARTWORK_RGB.wmf">
            <a:extLst>
              <a:ext uri="{FF2B5EF4-FFF2-40B4-BE49-F238E27FC236}">
                <a16:creationId xmlns:a16="http://schemas.microsoft.com/office/drawing/2014/main" id="{61725E52-18CA-4630-9CEC-3376C352E6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9213" y="4613275"/>
            <a:ext cx="1223962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C6BA838-7AE6-5263-34BF-EB74042346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ES"/>
              <a:t>ESTE DOCUEMNTO ES DE CARÁCTER INFORMATIVO, PUEDE OBTENER INFORMACIÓN MAS DETALLADA CONSULTANDO EL CODIGO SIKA S.A.U. ESPAÑA. - CONSULTE EL SERVICIO TECNICO DE SIKA PREVIAMENTE A LA UTILIZACIÓN DE LOS PRODUCTOS SIKA.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15" r:id="rId1"/>
    <p:sldLayoutId id="2147484017" r:id="rId2"/>
    <p:sldLayoutId id="2147484019" r:id="rId3"/>
    <p:sldLayoutId id="2147484020" r:id="rId4"/>
    <p:sldLayoutId id="2147484009" r:id="rId5"/>
    <p:sldLayoutId id="2147484064" r:id="rId6"/>
    <p:sldLayoutId id="2147484021" r:id="rId7"/>
    <p:sldLayoutId id="2147484060" r:id="rId8"/>
    <p:sldLayoutId id="2147484059" r:id="rId9"/>
    <p:sldLayoutId id="2147484022" r:id="rId10"/>
    <p:sldLayoutId id="2147484023" r:id="rId11"/>
    <p:sldLayoutId id="2147484024" r:id="rId12"/>
    <p:sldLayoutId id="2147484010" r:id="rId13"/>
    <p:sldLayoutId id="2147484067" r:id="rId14"/>
    <p:sldLayoutId id="2147484066" r:id="rId15"/>
    <p:sldLayoutId id="2147484063" r:id="rId16"/>
    <p:sldLayoutId id="2147484011" r:id="rId17"/>
    <p:sldLayoutId id="2147484012" r:id="rId18"/>
    <p:sldLayoutId id="2147484065" r:id="rId19"/>
    <p:sldLayoutId id="2147484013" r:id="rId20"/>
    <p:sldLayoutId id="2147484062" r:id="rId21"/>
    <p:sldLayoutId id="2147484014" r:id="rId22"/>
    <p:sldLayoutId id="2147484025" r:id="rId23"/>
    <p:sldLayoutId id="2147484027" r:id="rId24"/>
  </p:sldLayoutIdLst>
  <p:hf hdr="0" dt="0"/>
  <p:txStyles>
    <p:titleStyle>
      <a:lvl1pPr algn="l" rtl="0" eaLnBrk="1" fontAlgn="base" hangingPunct="1">
        <a:lnSpc>
          <a:spcPts val="2400"/>
        </a:lnSpc>
        <a:spcBef>
          <a:spcPct val="0"/>
        </a:spcBef>
        <a:spcAft>
          <a:spcPts val="763"/>
        </a:spcAft>
        <a:defRPr sz="2400" kern="1200" cap="all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2400"/>
        </a:lnSpc>
        <a:spcBef>
          <a:spcPct val="0"/>
        </a:spcBef>
        <a:spcAft>
          <a:spcPts val="763"/>
        </a:spcAft>
        <a:defRPr sz="2400">
          <a:solidFill>
            <a:schemeClr val="tx1"/>
          </a:solidFill>
          <a:latin typeface="Calibri" pitchFamily="34" charset="0"/>
        </a:defRPr>
      </a:lvl2pPr>
      <a:lvl3pPr algn="l" rtl="0" eaLnBrk="1" fontAlgn="base" hangingPunct="1">
        <a:lnSpc>
          <a:spcPts val="2400"/>
        </a:lnSpc>
        <a:spcBef>
          <a:spcPct val="0"/>
        </a:spcBef>
        <a:spcAft>
          <a:spcPts val="763"/>
        </a:spcAft>
        <a:defRPr sz="2400">
          <a:solidFill>
            <a:schemeClr val="tx1"/>
          </a:solidFill>
          <a:latin typeface="Calibri" pitchFamily="34" charset="0"/>
        </a:defRPr>
      </a:lvl3pPr>
      <a:lvl4pPr algn="l" rtl="0" eaLnBrk="1" fontAlgn="base" hangingPunct="1">
        <a:lnSpc>
          <a:spcPts val="2400"/>
        </a:lnSpc>
        <a:spcBef>
          <a:spcPct val="0"/>
        </a:spcBef>
        <a:spcAft>
          <a:spcPts val="763"/>
        </a:spcAft>
        <a:defRPr sz="2400">
          <a:solidFill>
            <a:schemeClr val="tx1"/>
          </a:solidFill>
          <a:latin typeface="Calibri" pitchFamily="34" charset="0"/>
        </a:defRPr>
      </a:lvl4pPr>
      <a:lvl5pPr algn="l" rtl="0" eaLnBrk="1" fontAlgn="base" hangingPunct="1">
        <a:lnSpc>
          <a:spcPts val="2400"/>
        </a:lnSpc>
        <a:spcBef>
          <a:spcPct val="0"/>
        </a:spcBef>
        <a:spcAft>
          <a:spcPts val="763"/>
        </a:spcAft>
        <a:defRPr sz="2400">
          <a:solidFill>
            <a:schemeClr val="tx1"/>
          </a:solidFill>
          <a:latin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ts val="763"/>
        </a:spcAft>
        <a:defRPr sz="3200">
          <a:solidFill>
            <a:schemeClr val="tx1"/>
          </a:solidFill>
          <a:latin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ts val="763"/>
        </a:spcAft>
        <a:defRPr sz="3200">
          <a:solidFill>
            <a:schemeClr val="tx1"/>
          </a:solidFill>
          <a:latin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ts val="763"/>
        </a:spcAft>
        <a:defRPr sz="3200">
          <a:solidFill>
            <a:schemeClr val="tx1"/>
          </a:solidFill>
          <a:latin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ts val="763"/>
        </a:spcAft>
        <a:defRPr sz="3200">
          <a:solidFill>
            <a:schemeClr val="tx1"/>
          </a:solidFill>
          <a:latin typeface="Calibri" pitchFamily="34" charset="0"/>
        </a:defRPr>
      </a:lvl9pPr>
    </p:titleStyle>
    <p:bodyStyle>
      <a:lvl1pPr marL="269875" indent="-26987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531813" indent="-26987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987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079500" indent="-26987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331913" indent="-26987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612900" indent="-268288" algn="l" defTabSz="914400" rtl="0" eaLnBrk="1" latinLnBrk="0" hangingPunct="1">
        <a:spcBef>
          <a:spcPts val="432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882775" indent="-269875" algn="l" defTabSz="914400" rtl="0" eaLnBrk="1" latinLnBrk="0" hangingPunct="1">
        <a:spcBef>
          <a:spcPts val="432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2151063" indent="-268288" algn="l" defTabSz="914400" rtl="0" eaLnBrk="1" latinLnBrk="0" hangingPunct="1">
        <a:spcBef>
          <a:spcPts val="432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2420938" indent="-269875" algn="l" defTabSz="914400" rtl="0" eaLnBrk="1" latinLnBrk="0" hangingPunct="1">
        <a:spcBef>
          <a:spcPts val="432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4.xml"/><Relationship Id="rId2" Type="http://schemas.openxmlformats.org/officeDocument/2006/relationships/slide" Target="slide3.xml"/><Relationship Id="rId1" Type="http://schemas.openxmlformats.org/officeDocument/2006/relationships/slideLayout" Target="../slideLayouts/slideLayout5.xml"/><Relationship Id="rId4" Type="http://schemas.openxmlformats.org/officeDocument/2006/relationships/slide" Target="slide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slide" Target="slide2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pn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.jpeg"/><Relationship Id="rId5" Type="http://schemas.openxmlformats.org/officeDocument/2006/relationships/image" Target="../media/image21.jpeg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7">
            <a:extLst>
              <a:ext uri="{FF2B5EF4-FFF2-40B4-BE49-F238E27FC236}">
                <a16:creationId xmlns:a16="http://schemas.microsoft.com/office/drawing/2014/main" id="{A5CC6D39-1ECB-F645-1AFE-2F0C03041A97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8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508" b="25508"/>
          <a:stretch/>
        </p:blipFill>
        <p:spPr>
          <a:xfrm>
            <a:off x="288000" y="194659"/>
            <a:ext cx="8631630" cy="2979076"/>
          </a:xfrm>
          <a:prstGeom prst="rect">
            <a:avLst/>
          </a:prstGeo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8565701-498B-4BA6-9AF2-C14C63DAE2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DIGITALIZACIÓN: TM CUBIERTAS</a:t>
            </a:r>
          </a:p>
          <a:p>
            <a:endParaRPr lang="en-US" dirty="0"/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D6F9B195-5252-4190-852F-7CD19B5DE0F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8000" y="3690900"/>
            <a:ext cx="6516688" cy="399601"/>
          </a:xfrm>
        </p:spPr>
        <p:txBody>
          <a:bodyPr/>
          <a:lstStyle/>
          <a:p>
            <a:r>
              <a:rPr lang="en-GB"/>
              <a:t>SIKA S.A.U. ESPAÑA </a:t>
            </a:r>
          </a:p>
        </p:txBody>
      </p:sp>
      <p:sp>
        <p:nvSpPr>
          <p:cNvPr id="2" name="Textplatzhalter 3">
            <a:extLst>
              <a:ext uri="{FF2B5EF4-FFF2-40B4-BE49-F238E27FC236}">
                <a16:creationId xmlns:a16="http://schemas.microsoft.com/office/drawing/2014/main" id="{72F36DA5-2921-8668-88B4-7B2CEBE3E63F}"/>
              </a:ext>
            </a:extLst>
          </p:cNvPr>
          <p:cNvSpPr txBox="1">
            <a:spLocks/>
          </p:cNvSpPr>
          <p:nvPr/>
        </p:nvSpPr>
        <p:spPr bwMode="auto">
          <a:xfrm>
            <a:off x="288000" y="4028930"/>
            <a:ext cx="6516688" cy="3996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2000" kern="1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18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19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2900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2775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51063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20938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err="1"/>
              <a:t>Enero</a:t>
            </a:r>
            <a:r>
              <a:rPr lang="en-GB" dirty="0"/>
              <a:t> 2024</a:t>
            </a:r>
          </a:p>
        </p:txBody>
      </p:sp>
      <p:pic>
        <p:nvPicPr>
          <p:cNvPr id="5" name="Imagen 4" descr="Imagen que contiene foto, vista, grande, pantalla&#10;&#10;Descripción generada automáticamente">
            <a:extLst>
              <a:ext uri="{FF2B5EF4-FFF2-40B4-BE49-F238E27FC236}">
                <a16:creationId xmlns:a16="http://schemas.microsoft.com/office/drawing/2014/main" id="{D70AFCFE-D621-1109-170D-4E0097A9493B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8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0707" y="2692633"/>
            <a:ext cx="1118923" cy="560867"/>
          </a:xfrm>
          <a:prstGeom prst="rect">
            <a:avLst/>
          </a:prstGeom>
          <a:solidFill>
            <a:schemeClr val="accent1"/>
          </a:solidFill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>
            <a:extLst>
              <a:ext uri="{FF2B5EF4-FFF2-40B4-BE49-F238E27FC236}">
                <a16:creationId xmlns:a16="http://schemas.microsoft.com/office/drawing/2014/main" id="{4CC1436C-60D4-A07F-BC7A-FCF9A06337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82201"/>
            <a:ext cx="8605837" cy="523875"/>
          </a:xfrm>
        </p:spPr>
        <p:txBody>
          <a:bodyPr/>
          <a:lstStyle/>
          <a:p>
            <a:r>
              <a:rPr lang="es-ES" dirty="0"/>
              <a:t>ÍNDICE</a:t>
            </a:r>
          </a:p>
        </p:txBody>
      </p:sp>
      <p:grpSp>
        <p:nvGrpSpPr>
          <p:cNvPr id="9" name="Group 27">
            <a:extLst>
              <a:ext uri="{FF2B5EF4-FFF2-40B4-BE49-F238E27FC236}">
                <a16:creationId xmlns:a16="http://schemas.microsoft.com/office/drawing/2014/main" id="{30FAC716-C6EF-33E4-05BB-BF60E2EC8752}"/>
              </a:ext>
            </a:extLst>
          </p:cNvPr>
          <p:cNvGrpSpPr/>
          <p:nvPr/>
        </p:nvGrpSpPr>
        <p:grpSpPr>
          <a:xfrm>
            <a:off x="287338" y="789167"/>
            <a:ext cx="8306852" cy="467900"/>
            <a:chOff x="2266448" y="907154"/>
            <a:chExt cx="6604704" cy="467900"/>
          </a:xfrm>
        </p:grpSpPr>
        <p:sp>
          <p:nvSpPr>
            <p:cNvPr id="25" name="TextBox 43">
              <a:extLst>
                <a:ext uri="{FF2B5EF4-FFF2-40B4-BE49-F238E27FC236}">
                  <a16:creationId xmlns:a16="http://schemas.microsoft.com/office/drawing/2014/main" id="{A062EA1F-1652-3350-8E3E-B32E76B6904F}"/>
                </a:ext>
              </a:extLst>
            </p:cNvPr>
            <p:cNvSpPr txBox="1"/>
            <p:nvPr/>
          </p:nvSpPr>
          <p:spPr>
            <a:xfrm>
              <a:off x="3079952" y="1017993"/>
              <a:ext cx="5791200" cy="246221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US" sz="1600" b="1" dirty="0">
                  <a:latin typeface="+mn-lt"/>
                </a:rPr>
                <a:t>CUBIERTAS				NÚMERO DE OBJETOS</a:t>
              </a:r>
            </a:p>
          </p:txBody>
        </p:sp>
        <p:sp>
          <p:nvSpPr>
            <p:cNvPr id="26" name="Rectangle 44">
              <a:extLst>
                <a:ext uri="{FF2B5EF4-FFF2-40B4-BE49-F238E27FC236}">
                  <a16:creationId xmlns:a16="http://schemas.microsoft.com/office/drawing/2014/main" id="{4E8542FD-7375-44DC-1029-5E8885FDE87D}"/>
                </a:ext>
              </a:extLst>
            </p:cNvPr>
            <p:cNvSpPr/>
            <p:nvPr/>
          </p:nvSpPr>
          <p:spPr>
            <a:xfrm>
              <a:off x="2266448" y="907154"/>
              <a:ext cx="627062" cy="4679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/>
                <a:t>01</a:t>
              </a:r>
              <a:endParaRPr lang="en-ID" b="1" dirty="0"/>
            </a:p>
          </p:txBody>
        </p:sp>
      </p:grpSp>
      <p:sp>
        <p:nvSpPr>
          <p:cNvPr id="30" name="CuadroTexto 29">
            <a:extLst>
              <a:ext uri="{FF2B5EF4-FFF2-40B4-BE49-F238E27FC236}">
                <a16:creationId xmlns:a16="http://schemas.microsoft.com/office/drawing/2014/main" id="{D7D58870-CD42-8214-D742-2C13690708D7}"/>
              </a:ext>
            </a:extLst>
          </p:cNvPr>
          <p:cNvSpPr txBox="1"/>
          <p:nvPr/>
        </p:nvSpPr>
        <p:spPr>
          <a:xfrm>
            <a:off x="549810" y="1257067"/>
            <a:ext cx="804438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ES" sz="1400" dirty="0"/>
              <a:t>1.1	</a:t>
            </a:r>
            <a:r>
              <a:rPr lang="es-ES" sz="1400" dirty="0">
                <a:hlinkClick r:id="rId2" action="ppaction://hlinksldjump"/>
              </a:rPr>
              <a:t>SikaRoof® i-Cure</a:t>
            </a:r>
            <a:r>
              <a:rPr lang="es-ES" sz="1400" dirty="0"/>
              <a:t>					4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ES" sz="1400" b="0" i="0" u="none" strike="noStrike" baseline="0" dirty="0">
                <a:latin typeface="Calibri" panose="020F0502020204030204" pitchFamily="34" charset="0"/>
              </a:rPr>
              <a:t>1.2	</a:t>
            </a:r>
            <a:r>
              <a:rPr lang="es-ES" sz="1400" b="0" i="0" u="none" strike="noStrike" baseline="0" dirty="0" err="1">
                <a:latin typeface="Calibri" panose="020F0502020204030204" pitchFamily="34" charset="0"/>
                <a:hlinkClick r:id="rId3" action="ppaction://hlinksldjump"/>
              </a:rPr>
              <a:t>Sarnafil</a:t>
            </a:r>
            <a:r>
              <a:rPr lang="es-ES" sz="1400" b="0" i="0" u="none" strike="noStrike" baseline="0" dirty="0">
                <a:latin typeface="Calibri" panose="020F0502020204030204" pitchFamily="34" charset="0"/>
                <a:hlinkClick r:id="rId3" action="ppaction://hlinksldjump"/>
              </a:rPr>
              <a:t>® TG 66</a:t>
            </a:r>
            <a:r>
              <a:rPr lang="es-ES" sz="1400" b="0" i="0" u="none" strike="noStrike" baseline="0" dirty="0">
                <a:latin typeface="Calibri" panose="020F0502020204030204" pitchFamily="34" charset="0"/>
              </a:rPr>
              <a:t>					8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ES" sz="1400" dirty="0"/>
              <a:t>1.3	</a:t>
            </a:r>
            <a:r>
              <a:rPr lang="es-ES" sz="1400" dirty="0" err="1">
                <a:hlinkClick r:id="rId4" action="ppaction://hlinksldjump"/>
              </a:rPr>
              <a:t>Sarnafil</a:t>
            </a:r>
            <a:r>
              <a:rPr lang="es-ES" sz="1400" dirty="0">
                <a:hlinkClick r:id="rId4" action="ppaction://hlinksldjump"/>
              </a:rPr>
              <a:t>® TS 77</a:t>
            </a:r>
            <a:r>
              <a:rPr lang="es-ES" sz="1400" dirty="0"/>
              <a:t>					6</a:t>
            </a:r>
            <a:endParaRPr lang="en-US" sz="1400" dirty="0"/>
          </a:p>
        </p:txBody>
      </p:sp>
      <p:sp>
        <p:nvSpPr>
          <p:cNvPr id="8" name="Marcador de número de diapositiva 7">
            <a:extLst>
              <a:ext uri="{FF2B5EF4-FFF2-40B4-BE49-F238E27FC236}">
                <a16:creationId xmlns:a16="http://schemas.microsoft.com/office/drawing/2014/main" id="{D4668FE0-1203-3935-727B-0FFDC991E4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C711AF-E905-4983-8248-7DD19E492DE7}" type="slidenum">
              <a:rPr lang="en-US" altLang="de-DE" smtClean="0"/>
              <a:pPr/>
              <a:t>2</a:t>
            </a:fld>
            <a:r>
              <a:rPr lang="en-GB" altLang="de-DE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6903548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7DA9801-0835-4143-95FD-E14093FEC9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141287"/>
            <a:ext cx="8605837" cy="650876"/>
          </a:xfrm>
        </p:spPr>
        <p:txBody>
          <a:bodyPr/>
          <a:lstStyle/>
          <a:p>
            <a:r>
              <a:rPr lang="en-US" dirty="0"/>
              <a:t>Catálogo objetos bim</a:t>
            </a:r>
            <a:br>
              <a:rPr lang="en-US" dirty="0"/>
            </a:br>
            <a:r>
              <a:rPr lang="en-US" sz="1600" dirty="0">
                <a:solidFill>
                  <a:srgbClr val="787878"/>
                </a:solidFill>
              </a:rPr>
              <a:t>sika </a:t>
            </a:r>
            <a:r>
              <a:rPr lang="en-US" sz="1600" dirty="0" err="1">
                <a:solidFill>
                  <a:srgbClr val="787878"/>
                </a:solidFill>
              </a:rPr>
              <a:t>s.a.u</a:t>
            </a:r>
            <a:r>
              <a:rPr lang="en-US" sz="1600" dirty="0">
                <a:solidFill>
                  <a:srgbClr val="787878"/>
                </a:solidFill>
              </a:rPr>
              <a:t>. </a:t>
            </a:r>
            <a:r>
              <a:rPr lang="en-US" sz="1600" dirty="0" err="1">
                <a:solidFill>
                  <a:srgbClr val="787878"/>
                </a:solidFill>
              </a:rPr>
              <a:t>españa</a:t>
            </a:r>
            <a:endParaRPr lang="en-US" dirty="0">
              <a:solidFill>
                <a:srgbClr val="787878"/>
              </a:solidFill>
            </a:endParaRPr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444E32C3-FFC6-41E3-A361-663774D7500E}"/>
              </a:ext>
            </a:extLst>
          </p:cNvPr>
          <p:cNvSpPr txBox="1">
            <a:spLocks/>
          </p:cNvSpPr>
          <p:nvPr/>
        </p:nvSpPr>
        <p:spPr>
          <a:xfrm>
            <a:off x="287338" y="258763"/>
            <a:ext cx="8605837" cy="512762"/>
          </a:xfrm>
          <a:prstGeom prst="rect">
            <a:avLst/>
          </a:prstGeom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lnSpc>
                <a:spcPts val="2400"/>
              </a:lnSpc>
              <a:spcAft>
                <a:spcPts val="768"/>
              </a:spcAft>
              <a:defRPr/>
            </a:pPr>
            <a:endParaRPr lang="de-DE" sz="2400">
              <a:solidFill>
                <a:schemeClr val="accent3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E5F264E-2CAF-4C07-A85D-E09E87C41E19}"/>
              </a:ext>
            </a:extLst>
          </p:cNvPr>
          <p:cNvSpPr/>
          <p:nvPr/>
        </p:nvSpPr>
        <p:spPr>
          <a:xfrm>
            <a:off x="282575" y="915988"/>
            <a:ext cx="8610600" cy="8082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73B6F68-B092-4FDF-BCC0-2500EBD28810}"/>
              </a:ext>
            </a:extLst>
          </p:cNvPr>
          <p:cNvCxnSpPr>
            <a:cxnSpLocks/>
          </p:cNvCxnSpPr>
          <p:nvPr/>
        </p:nvCxnSpPr>
        <p:spPr>
          <a:xfrm>
            <a:off x="473075" y="4448398"/>
            <a:ext cx="822960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id="{46D81B90-49B1-4C90-A06B-94DEFC5BE405}"/>
              </a:ext>
            </a:extLst>
          </p:cNvPr>
          <p:cNvSpPr txBox="1"/>
          <p:nvPr/>
        </p:nvSpPr>
        <p:spPr>
          <a:xfrm>
            <a:off x="282575" y="1020782"/>
            <a:ext cx="8610600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s-ES" sz="2000" b="1" dirty="0" err="1">
                <a:solidFill>
                  <a:schemeClr val="bg1"/>
                </a:solidFill>
              </a:rPr>
              <a:t>SikaRoof</a:t>
            </a:r>
            <a:r>
              <a:rPr lang="es-ES" b="1" dirty="0">
                <a:solidFill>
                  <a:schemeClr val="bg1"/>
                </a:solidFill>
              </a:rPr>
              <a:t>® i-Cure 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3BB99072-4AD6-D2B8-F0EB-42015B8B39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4DB64-94C2-4F1B-9FB8-C4899DD18771}" type="slidenum">
              <a:rPr lang="en-US" altLang="de-DE" smtClean="0"/>
              <a:pPr/>
              <a:t>3</a:t>
            </a:fld>
            <a:r>
              <a:rPr lang="en-GB" altLang="de-DE"/>
              <a:t>  </a:t>
            </a:r>
          </a:p>
        </p:txBody>
      </p:sp>
      <p:sp>
        <p:nvSpPr>
          <p:cNvPr id="7" name="Marcador de pie de página 6">
            <a:extLst>
              <a:ext uri="{FF2B5EF4-FFF2-40B4-BE49-F238E27FC236}">
                <a16:creationId xmlns:a16="http://schemas.microsoft.com/office/drawing/2014/main" id="{C6A67DE8-CBD4-272E-7FE3-E9AD2A09278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49108" y="4767263"/>
            <a:ext cx="7397166" cy="274637"/>
          </a:xfrm>
        </p:spPr>
        <p:txBody>
          <a:bodyPr/>
          <a:lstStyle/>
          <a:p>
            <a:pPr algn="just"/>
            <a:r>
              <a:rPr lang="es-ES" sz="500" cap="all">
                <a:solidFill>
                  <a:srgbClr val="787878"/>
                </a:solidFill>
                <a:latin typeface="+mj-lt"/>
                <a:ea typeface="+mj-ea"/>
                <a:cs typeface="+mj-cs"/>
              </a:rPr>
              <a:t>ESTE DOCUEMNTO ES DE CARÁCTER INFORMATIVO, PUEDE OBTENER INFORMACIÓN MAS DETALLADA CONSULTANDO EL CODIGO SIKA S.A.U. ESPAÑA. - CONSULTE EL SERVICIO TECNICO DE SIKA PREVIAMENTE A LA UTILIZACIÓN DE LOS PRODUCTOS SIKA.</a:t>
            </a:r>
            <a:endParaRPr lang="es-ES" sz="500" cap="all" dirty="0">
              <a:solidFill>
                <a:srgbClr val="787878"/>
              </a:solidFill>
              <a:latin typeface="+mj-lt"/>
              <a:ea typeface="+mj-ea"/>
              <a:cs typeface="+mj-cs"/>
            </a:endParaRPr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BF64469B-B8A7-D240-8F6F-606F94F66F0C}"/>
              </a:ext>
            </a:extLst>
          </p:cNvPr>
          <p:cNvGrpSpPr/>
          <p:nvPr/>
        </p:nvGrpSpPr>
        <p:grpSpPr>
          <a:xfrm>
            <a:off x="344558" y="1369918"/>
            <a:ext cx="8472979" cy="3022458"/>
            <a:chOff x="344558" y="1369918"/>
            <a:chExt cx="8472979" cy="3022458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925DB842-37D1-4115-97D2-20C87069CC34}"/>
                </a:ext>
              </a:extLst>
            </p:cNvPr>
            <p:cNvSpPr/>
            <p:nvPr/>
          </p:nvSpPr>
          <p:spPr>
            <a:xfrm>
              <a:off x="349108" y="1369918"/>
              <a:ext cx="2095217" cy="35433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100" b="1" dirty="0">
                <a:latin typeface="Calibri" panose="020F0502020204030204" pitchFamily="34" charset="0"/>
              </a:endParaRPr>
            </a:p>
            <a:p>
              <a:pPr algn="ctr"/>
              <a:r>
                <a:rPr lang="es-ES" sz="1300" b="1" i="0" u="none" strike="noStrike" baseline="0" dirty="0">
                  <a:latin typeface="Calibri" panose="020F0502020204030204" pitchFamily="34" charset="0"/>
                </a:rPr>
                <a:t>SikaRoof® i-Cure-12</a:t>
              </a:r>
              <a:endParaRPr lang="en-US" sz="1300" b="1" dirty="0">
                <a:latin typeface="Calibri" panose="020F0502020204030204" pitchFamily="34" charset="0"/>
              </a:endParaRPr>
            </a:p>
            <a:p>
              <a:pPr algn="ctr"/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C2663665-9B22-4B68-82D7-634FD0D718E0}"/>
                </a:ext>
              </a:extLst>
            </p:cNvPr>
            <p:cNvSpPr/>
            <p:nvPr/>
          </p:nvSpPr>
          <p:spPr>
            <a:xfrm>
              <a:off x="2568292" y="1372546"/>
              <a:ext cx="1971250" cy="35433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300" b="1" dirty="0">
                  <a:latin typeface="Calibri" panose="020F0502020204030204" pitchFamily="34" charset="0"/>
                </a:rPr>
                <a:t>SikaRoof® i-Cure-15</a:t>
              </a:r>
              <a:endParaRPr lang="en-US" sz="1300" b="1" dirty="0">
                <a:latin typeface="Calibri" panose="020F0502020204030204" pitchFamily="34" charset="0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C3A9EE8E-EBC8-40E8-A7C4-EB5621D3DABC}"/>
                </a:ext>
              </a:extLst>
            </p:cNvPr>
            <p:cNvSpPr/>
            <p:nvPr/>
          </p:nvSpPr>
          <p:spPr>
            <a:xfrm>
              <a:off x="4645307" y="1369918"/>
              <a:ext cx="1971250" cy="35433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300" b="1" dirty="0">
                  <a:latin typeface="Calibri" panose="020F0502020204030204" pitchFamily="34" charset="0"/>
                </a:rPr>
                <a:t>SikaRoof® i-Cure-18</a:t>
              </a:r>
              <a:endParaRPr lang="en-US" sz="1300" b="1" dirty="0">
                <a:latin typeface="Calibri" panose="020F0502020204030204" pitchFamily="34" charset="0"/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CBF42CAE-8FD1-403C-A71F-CA56A9EE0447}"/>
                </a:ext>
              </a:extLst>
            </p:cNvPr>
            <p:cNvSpPr/>
            <p:nvPr/>
          </p:nvSpPr>
          <p:spPr>
            <a:xfrm>
              <a:off x="6731424" y="1369918"/>
              <a:ext cx="2086113" cy="35433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300" b="1" dirty="0">
                  <a:latin typeface="Calibri" panose="020F0502020204030204" pitchFamily="34" charset="0"/>
                </a:rPr>
                <a:t>SikaRoof® i-Cure-22</a:t>
              </a:r>
              <a:endParaRPr lang="en-US" sz="1300" b="1" dirty="0">
                <a:latin typeface="Calibri" panose="020F050202020403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CF325144-0920-4C28-B175-22E182C0E139}"/>
                </a:ext>
              </a:extLst>
            </p:cNvPr>
            <p:cNvCxnSpPr/>
            <p:nvPr/>
          </p:nvCxnSpPr>
          <p:spPr>
            <a:xfrm>
              <a:off x="2501758" y="1369919"/>
              <a:ext cx="0" cy="2990846"/>
            </a:xfrm>
            <a:prstGeom prst="line">
              <a:avLst/>
            </a:prstGeom>
            <a:ln w="635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2AD0081B-8449-462A-B4F5-2FA7BEF44EF7}"/>
                </a:ext>
              </a:extLst>
            </p:cNvPr>
            <p:cNvCxnSpPr/>
            <p:nvPr/>
          </p:nvCxnSpPr>
          <p:spPr>
            <a:xfrm>
              <a:off x="4587874" y="1369919"/>
              <a:ext cx="0" cy="2990846"/>
            </a:xfrm>
            <a:prstGeom prst="line">
              <a:avLst/>
            </a:prstGeom>
            <a:ln w="635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F3B4036-43C9-4925-B1FE-8DC524B9EF41}"/>
                </a:ext>
              </a:extLst>
            </p:cNvPr>
            <p:cNvCxnSpPr/>
            <p:nvPr/>
          </p:nvCxnSpPr>
          <p:spPr>
            <a:xfrm>
              <a:off x="6673990" y="1369919"/>
              <a:ext cx="0" cy="2990846"/>
            </a:xfrm>
            <a:prstGeom prst="line">
              <a:avLst/>
            </a:prstGeom>
            <a:ln w="635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28AFF06C-A63A-4A40-A0DB-6AAE5F7CC0FB}"/>
                </a:ext>
              </a:extLst>
            </p:cNvPr>
            <p:cNvSpPr txBox="1"/>
            <p:nvPr/>
          </p:nvSpPr>
          <p:spPr>
            <a:xfrm>
              <a:off x="2568291" y="3293584"/>
              <a:ext cx="1971249" cy="61555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just"/>
              <a:r>
                <a:rPr lang="es-ES" sz="1000" b="0" i="0" u="none" strike="noStrike" baseline="0" dirty="0">
                  <a:latin typeface="Calibri" panose="020F0502020204030204" pitchFamily="34" charset="0"/>
                </a:rPr>
                <a:t>Sistema de impermeabilización líquida de cubiertas de poliuretano resistente a la radiación UV y</a:t>
              </a:r>
            </a:p>
            <a:p>
              <a:pPr algn="just"/>
              <a:r>
                <a:rPr lang="es-ES" sz="1000" b="0" i="0" u="none" strike="noStrike" baseline="0" dirty="0">
                  <a:latin typeface="Calibri" panose="020F0502020204030204" pitchFamily="34" charset="0"/>
                </a:rPr>
                <a:t>de bajo olor - 1,5 mm</a:t>
              </a:r>
              <a:endParaRPr lang="en-US" sz="1000" dirty="0"/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258D11DF-8BF5-4555-A8BE-C65DF9D11B9D}"/>
                </a:ext>
              </a:extLst>
            </p:cNvPr>
            <p:cNvSpPr txBox="1"/>
            <p:nvPr/>
          </p:nvSpPr>
          <p:spPr>
            <a:xfrm>
              <a:off x="4645306" y="3293584"/>
              <a:ext cx="1971250" cy="61555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just"/>
              <a:r>
                <a:rPr lang="es-ES" sz="1000" b="0" i="0" u="none" strike="noStrike" baseline="0" dirty="0">
                  <a:latin typeface="Calibri" panose="020F0502020204030204" pitchFamily="34" charset="0"/>
                </a:rPr>
                <a:t>Sistema de impermeabilización líquida de cubiertas de poliuretano resistente a la radiación UV y</a:t>
              </a:r>
            </a:p>
            <a:p>
              <a:pPr algn="just"/>
              <a:r>
                <a:rPr lang="es-ES" sz="1000" b="0" i="0" u="none" strike="noStrike" baseline="0" dirty="0">
                  <a:latin typeface="Calibri" panose="020F0502020204030204" pitchFamily="34" charset="0"/>
                </a:rPr>
                <a:t>de bajo olor – 1,8 mm</a:t>
              </a:r>
              <a:endParaRPr lang="es-ES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72C6BD19-160C-4ACA-B9DC-77A71A6E3198}"/>
                </a:ext>
              </a:extLst>
            </p:cNvPr>
            <p:cNvSpPr txBox="1"/>
            <p:nvPr/>
          </p:nvSpPr>
          <p:spPr>
            <a:xfrm>
              <a:off x="6731424" y="3293584"/>
              <a:ext cx="2086113" cy="61555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just"/>
              <a:r>
                <a:rPr lang="es-ES" sz="1000" b="0" i="0" u="none" strike="noStrike" baseline="0" dirty="0">
                  <a:latin typeface="Calibri" panose="020F0502020204030204" pitchFamily="34" charset="0"/>
                </a:rPr>
                <a:t>Sistema de impermeabilización líquida de cubiertas de poliuretano resistente a la radiación UV y</a:t>
              </a:r>
            </a:p>
            <a:p>
              <a:pPr algn="just"/>
              <a:r>
                <a:rPr lang="es-ES" sz="1000" b="0" i="0" u="none" strike="noStrike" baseline="0" dirty="0">
                  <a:latin typeface="Calibri" panose="020F0502020204030204" pitchFamily="34" charset="0"/>
                </a:rPr>
                <a:t>de bajo olor – 2,2 mm</a:t>
              </a:r>
              <a:endParaRPr lang="es-ES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pic>
          <p:nvPicPr>
            <p:cNvPr id="108" name="Content Placeholder 7">
              <a:extLst>
                <a:ext uri="{FF2B5EF4-FFF2-40B4-BE49-F238E27FC236}">
                  <a16:creationId xmlns:a16="http://schemas.microsoft.com/office/drawing/2014/main" id="{6F5BE68D-4A64-416A-BC4A-77425D374F3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7" b="47"/>
            <a:stretch/>
          </p:blipFill>
          <p:spPr>
            <a:xfrm>
              <a:off x="2830187" y="2048502"/>
              <a:ext cx="1386014" cy="1046496"/>
            </a:xfrm>
            <a:prstGeom prst="rect">
              <a:avLst/>
            </a:prstGeom>
          </p:spPr>
        </p:pic>
        <p:pic>
          <p:nvPicPr>
            <p:cNvPr id="109" name="Content Placeholder 7">
              <a:extLst>
                <a:ext uri="{FF2B5EF4-FFF2-40B4-BE49-F238E27FC236}">
                  <a16:creationId xmlns:a16="http://schemas.microsoft.com/office/drawing/2014/main" id="{4CF713F9-618F-46E0-BBA5-8C15CB461D3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20" b="320"/>
            <a:stretch/>
          </p:blipFill>
          <p:spPr>
            <a:xfrm>
              <a:off x="4937924" y="2046835"/>
              <a:ext cx="1386014" cy="1046496"/>
            </a:xfrm>
            <a:prstGeom prst="rect">
              <a:avLst/>
            </a:prstGeom>
          </p:spPr>
        </p:pic>
        <p:pic>
          <p:nvPicPr>
            <p:cNvPr id="111" name="Content Placeholder 7">
              <a:extLst>
                <a:ext uri="{FF2B5EF4-FFF2-40B4-BE49-F238E27FC236}">
                  <a16:creationId xmlns:a16="http://schemas.microsoft.com/office/drawing/2014/main" id="{EEC9B30A-1D3B-4E3B-8F1C-C54EC0F9CF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5" b="25"/>
            <a:stretch/>
          </p:blipFill>
          <p:spPr>
            <a:xfrm>
              <a:off x="7024039" y="2051699"/>
              <a:ext cx="1386014" cy="1046496"/>
            </a:xfrm>
            <a:prstGeom prst="rect">
              <a:avLst/>
            </a:prstGeom>
          </p:spPr>
        </p:pic>
        <p:sp>
          <p:nvSpPr>
            <p:cNvPr id="3" name="CuadroTexto 2">
              <a:extLst>
                <a:ext uri="{FF2B5EF4-FFF2-40B4-BE49-F238E27FC236}">
                  <a16:creationId xmlns:a16="http://schemas.microsoft.com/office/drawing/2014/main" id="{4082350C-0FD7-2CF3-676D-D04D446761D9}"/>
                </a:ext>
              </a:extLst>
            </p:cNvPr>
            <p:cNvSpPr txBox="1"/>
            <p:nvPr/>
          </p:nvSpPr>
          <p:spPr>
            <a:xfrm>
              <a:off x="473073" y="4130174"/>
              <a:ext cx="1971250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100" b="1" i="0" u="none" strike="noStrike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BIM_1_7_1_Sikalastic-641-12</a:t>
              </a:r>
              <a:r>
                <a:rPr lang="es-ES" sz="1100" b="1" dirty="0"/>
                <a:t>  </a:t>
              </a:r>
              <a:endParaRPr kumimoji="0" lang="es-E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6" name="CuadroTexto 5">
              <a:extLst>
                <a:ext uri="{FF2B5EF4-FFF2-40B4-BE49-F238E27FC236}">
                  <a16:creationId xmlns:a16="http://schemas.microsoft.com/office/drawing/2014/main" id="{A94A8A2F-4E2F-8D4C-F9C4-C176DF8B99A2}"/>
                </a:ext>
              </a:extLst>
            </p:cNvPr>
            <p:cNvSpPr txBox="1"/>
            <p:nvPr/>
          </p:nvSpPr>
          <p:spPr>
            <a:xfrm>
              <a:off x="2545760" y="4130766"/>
              <a:ext cx="1971250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100" b="1" dirty="0">
                  <a:solidFill>
                    <a:srgbClr val="000000"/>
                  </a:solidFill>
                </a:rPr>
                <a:t>BIM_1_7_1_Sikalastic-641-15</a:t>
              </a:r>
              <a:r>
                <a:rPr lang="es-ES" sz="1100" b="1" dirty="0">
                  <a:solidFill>
                    <a:srgbClr val="000000"/>
                  </a:solidFill>
                </a:rPr>
                <a:t>  </a:t>
              </a:r>
            </a:p>
          </p:txBody>
        </p:sp>
        <p:sp>
          <p:nvSpPr>
            <p:cNvPr id="8" name="CuadroTexto 7">
              <a:extLst>
                <a:ext uri="{FF2B5EF4-FFF2-40B4-BE49-F238E27FC236}">
                  <a16:creationId xmlns:a16="http://schemas.microsoft.com/office/drawing/2014/main" id="{4596D989-D6E9-2D7D-441B-79C05215E694}"/>
                </a:ext>
              </a:extLst>
            </p:cNvPr>
            <p:cNvSpPr txBox="1"/>
            <p:nvPr/>
          </p:nvSpPr>
          <p:spPr>
            <a:xfrm>
              <a:off x="4645306" y="4130174"/>
              <a:ext cx="1971250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100" b="1" dirty="0">
                  <a:solidFill>
                    <a:srgbClr val="000000"/>
                  </a:solidFill>
                </a:rPr>
                <a:t>BIM_1_7_1_Sikalastic-641-18</a:t>
              </a:r>
              <a:r>
                <a:rPr lang="es-ES" sz="1100" b="1" dirty="0">
                  <a:solidFill>
                    <a:srgbClr val="000000"/>
                  </a:solidFill>
                </a:rPr>
                <a:t>  </a:t>
              </a:r>
            </a:p>
          </p:txBody>
        </p:sp>
        <p:sp>
          <p:nvSpPr>
            <p:cNvPr id="10" name="CuadroTexto 9">
              <a:extLst>
                <a:ext uri="{FF2B5EF4-FFF2-40B4-BE49-F238E27FC236}">
                  <a16:creationId xmlns:a16="http://schemas.microsoft.com/office/drawing/2014/main" id="{28913F2D-D848-07FD-AD0C-3B413DC90E4E}"/>
                </a:ext>
              </a:extLst>
            </p:cNvPr>
            <p:cNvSpPr txBox="1"/>
            <p:nvPr/>
          </p:nvSpPr>
          <p:spPr>
            <a:xfrm>
              <a:off x="6765371" y="4130174"/>
              <a:ext cx="1971249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100" b="1" dirty="0">
                  <a:solidFill>
                    <a:srgbClr val="000000"/>
                  </a:solidFill>
                </a:rPr>
                <a:t>BIM_1_7_1_Sikalastic-641-22</a:t>
              </a:r>
              <a:r>
                <a:rPr lang="es-ES" sz="1100" b="1" dirty="0">
                  <a:solidFill>
                    <a:srgbClr val="000000"/>
                  </a:solidFill>
                </a:rPr>
                <a:t>  </a:t>
              </a:r>
            </a:p>
          </p:txBody>
        </p:sp>
        <p:pic>
          <p:nvPicPr>
            <p:cNvPr id="9" name="Content Placeholder 7">
              <a:extLst>
                <a:ext uri="{FF2B5EF4-FFF2-40B4-BE49-F238E27FC236}">
                  <a16:creationId xmlns:a16="http://schemas.microsoft.com/office/drawing/2014/main" id="{0573C45A-CEB8-9B00-5A5A-E5CA0C4171E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2" b="62"/>
            <a:stretch/>
          </p:blipFill>
          <p:spPr>
            <a:xfrm>
              <a:off x="679925" y="2104509"/>
              <a:ext cx="1386014" cy="1046496"/>
            </a:xfrm>
            <a:prstGeom prst="rect">
              <a:avLst/>
            </a:prstGeom>
          </p:spPr>
        </p:pic>
        <p:sp>
          <p:nvSpPr>
            <p:cNvPr id="13" name="CuadroTexto 12">
              <a:extLst>
                <a:ext uri="{FF2B5EF4-FFF2-40B4-BE49-F238E27FC236}">
                  <a16:creationId xmlns:a16="http://schemas.microsoft.com/office/drawing/2014/main" id="{8AD4082F-7CB5-2DDE-7136-17A23FD233DC}"/>
                </a:ext>
              </a:extLst>
            </p:cNvPr>
            <p:cNvSpPr txBox="1"/>
            <p:nvPr/>
          </p:nvSpPr>
          <p:spPr>
            <a:xfrm>
              <a:off x="344558" y="3245500"/>
              <a:ext cx="2099765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/>
              <a:r>
                <a:rPr lang="es-ES" sz="1000" b="0" i="0" u="none" strike="noStrike" baseline="0" dirty="0">
                  <a:latin typeface="Calibri" panose="020F0502020204030204" pitchFamily="34" charset="0"/>
                </a:rPr>
                <a:t>Sistema de impermeabilización líquida de cubiertas de poliuretano resistente a la radiación UV y</a:t>
              </a:r>
            </a:p>
            <a:p>
              <a:pPr algn="just"/>
              <a:r>
                <a:rPr lang="es-ES" sz="1000" b="0" i="0" u="none" strike="noStrike" baseline="0" dirty="0">
                  <a:latin typeface="Calibri" panose="020F0502020204030204" pitchFamily="34" charset="0"/>
                </a:rPr>
                <a:t>de bajo olor - 1,2 mm</a:t>
              </a:r>
              <a:endParaRPr lang="es-ES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12" name="CuadroTexto 11">
            <a:extLst>
              <a:ext uri="{FF2B5EF4-FFF2-40B4-BE49-F238E27FC236}">
                <a16:creationId xmlns:a16="http://schemas.microsoft.com/office/drawing/2014/main" id="{C7AC20E6-3EAC-684F-E142-BF46B7C00F40}"/>
              </a:ext>
            </a:extLst>
          </p:cNvPr>
          <p:cNvSpPr txBox="1"/>
          <p:nvPr/>
        </p:nvSpPr>
        <p:spPr>
          <a:xfrm>
            <a:off x="8315773" y="639935"/>
            <a:ext cx="55976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5B325"/>
              </a:buClr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hlinkClick r:id="rId7" action="ppaction://hlinksldjump"/>
              </a:rPr>
              <a:t>ÍNDICE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20202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7DA9801-0835-4143-95FD-E14093FEC9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141288"/>
            <a:ext cx="8605837" cy="650876"/>
          </a:xfrm>
        </p:spPr>
        <p:txBody>
          <a:bodyPr/>
          <a:lstStyle/>
          <a:p>
            <a:r>
              <a:rPr lang="en-US" dirty="0"/>
              <a:t>Catálogo objetos bim</a:t>
            </a:r>
            <a:br>
              <a:rPr lang="en-US" dirty="0"/>
            </a:br>
            <a:r>
              <a:rPr lang="en-US" sz="1600" dirty="0">
                <a:solidFill>
                  <a:srgbClr val="787878"/>
                </a:solidFill>
              </a:rPr>
              <a:t>sika </a:t>
            </a:r>
            <a:r>
              <a:rPr lang="en-US" sz="1600" dirty="0" err="1">
                <a:solidFill>
                  <a:srgbClr val="787878"/>
                </a:solidFill>
              </a:rPr>
              <a:t>s.a.u</a:t>
            </a:r>
            <a:r>
              <a:rPr lang="en-US" sz="1600" dirty="0">
                <a:solidFill>
                  <a:srgbClr val="787878"/>
                </a:solidFill>
              </a:rPr>
              <a:t>. </a:t>
            </a:r>
            <a:r>
              <a:rPr lang="en-US" sz="1600" dirty="0" err="1">
                <a:solidFill>
                  <a:srgbClr val="787878"/>
                </a:solidFill>
              </a:rPr>
              <a:t>españa</a:t>
            </a:r>
            <a:endParaRPr lang="en-US" dirty="0">
              <a:solidFill>
                <a:srgbClr val="787878"/>
              </a:solidFill>
            </a:endParaRPr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444E32C3-FFC6-41E3-A361-663774D7500E}"/>
              </a:ext>
            </a:extLst>
          </p:cNvPr>
          <p:cNvSpPr txBox="1">
            <a:spLocks/>
          </p:cNvSpPr>
          <p:nvPr/>
        </p:nvSpPr>
        <p:spPr>
          <a:xfrm>
            <a:off x="287338" y="258763"/>
            <a:ext cx="8605837" cy="512762"/>
          </a:xfrm>
          <a:prstGeom prst="rect">
            <a:avLst/>
          </a:prstGeom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lnSpc>
                <a:spcPts val="2400"/>
              </a:lnSpc>
              <a:spcAft>
                <a:spcPts val="768"/>
              </a:spcAft>
              <a:defRPr/>
            </a:pPr>
            <a:endParaRPr lang="de-DE" sz="2400">
              <a:solidFill>
                <a:schemeClr val="accent3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E5F264E-2CAF-4C07-A85D-E09E87C41E19}"/>
              </a:ext>
            </a:extLst>
          </p:cNvPr>
          <p:cNvSpPr/>
          <p:nvPr/>
        </p:nvSpPr>
        <p:spPr>
          <a:xfrm>
            <a:off x="282575" y="924470"/>
            <a:ext cx="8610600" cy="8082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73B6F68-B092-4FDF-BCC0-2500EBD28810}"/>
              </a:ext>
            </a:extLst>
          </p:cNvPr>
          <p:cNvCxnSpPr>
            <a:cxnSpLocks/>
          </p:cNvCxnSpPr>
          <p:nvPr/>
        </p:nvCxnSpPr>
        <p:spPr>
          <a:xfrm>
            <a:off x="473075" y="4448398"/>
            <a:ext cx="822960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id="{46D81B90-49B1-4C90-A06B-94DEFC5BE405}"/>
              </a:ext>
            </a:extLst>
          </p:cNvPr>
          <p:cNvSpPr txBox="1"/>
          <p:nvPr/>
        </p:nvSpPr>
        <p:spPr>
          <a:xfrm>
            <a:off x="282575" y="1043118"/>
            <a:ext cx="8610600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s-ES" sz="2000" b="1" dirty="0" err="1">
                <a:solidFill>
                  <a:schemeClr val="bg1"/>
                </a:solidFill>
              </a:rPr>
              <a:t>Sarnafil</a:t>
            </a:r>
            <a:r>
              <a:rPr lang="es-ES" sz="2000" b="1" dirty="0">
                <a:solidFill>
                  <a:schemeClr val="bg1"/>
                </a:solidFill>
              </a:rPr>
              <a:t>® TG 66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319983B2-A82A-085C-A39A-4B1A8D90CD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4DB64-94C2-4F1B-9FB8-C4899DD18771}" type="slidenum">
              <a:rPr lang="en-US" altLang="de-DE" smtClean="0"/>
              <a:pPr/>
              <a:t>4</a:t>
            </a:fld>
            <a:r>
              <a:rPr lang="en-GB" altLang="de-DE"/>
              <a:t>  </a:t>
            </a:r>
          </a:p>
        </p:txBody>
      </p:sp>
      <p:sp>
        <p:nvSpPr>
          <p:cNvPr id="9" name="Marcador de pie de página 8">
            <a:extLst>
              <a:ext uri="{FF2B5EF4-FFF2-40B4-BE49-F238E27FC236}">
                <a16:creationId xmlns:a16="http://schemas.microsoft.com/office/drawing/2014/main" id="{F994BD5C-94F8-9C5C-D955-A87A0556EF2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49108" y="4767263"/>
            <a:ext cx="7423292" cy="274637"/>
          </a:xfrm>
        </p:spPr>
        <p:txBody>
          <a:bodyPr/>
          <a:lstStyle/>
          <a:p>
            <a:pPr algn="just"/>
            <a:r>
              <a:rPr lang="es-ES" sz="500" cap="all" dirty="0">
                <a:solidFill>
                  <a:srgbClr val="787878"/>
                </a:solidFill>
                <a:latin typeface="+mj-lt"/>
                <a:ea typeface="+mj-ea"/>
                <a:cs typeface="+mj-cs"/>
              </a:rPr>
              <a:t>ESTE DOCUEMNTO ES DE CARÁCTER INFORMATIVO, PUEDE OBTENER INFORMACIÓN MAS DETALLADA CONSULTANDO EL CODIGO SIKA S.A.U. ESPAÑA. - CONSULTE EL SERVICIO TECNICO DE SIKA PREVIAMENTE A LA UTILIZACIÓN DE LOS PRODUCTOS SIKA.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995BC6F4-B009-5C5B-E801-C676A4CA37F6}"/>
              </a:ext>
            </a:extLst>
          </p:cNvPr>
          <p:cNvSpPr txBox="1"/>
          <p:nvPr/>
        </p:nvSpPr>
        <p:spPr>
          <a:xfrm>
            <a:off x="8315773" y="639935"/>
            <a:ext cx="55976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5B325"/>
              </a:buClr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hlinkClick r:id="rId3" action="ppaction://hlinksldjump"/>
              </a:rPr>
              <a:t>ÍNDICE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8" name="Grupo 17">
            <a:extLst>
              <a:ext uri="{FF2B5EF4-FFF2-40B4-BE49-F238E27FC236}">
                <a16:creationId xmlns:a16="http://schemas.microsoft.com/office/drawing/2014/main" id="{D0C3424A-852D-CC08-F49F-401FE3F7B0F6}"/>
              </a:ext>
            </a:extLst>
          </p:cNvPr>
          <p:cNvGrpSpPr/>
          <p:nvPr/>
        </p:nvGrpSpPr>
        <p:grpSpPr>
          <a:xfrm>
            <a:off x="1145642" y="1380668"/>
            <a:ext cx="6852715" cy="3061542"/>
            <a:chOff x="454401" y="1379146"/>
            <a:chExt cx="6852715" cy="3061542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925DB842-37D1-4115-97D2-20C87069CC34}"/>
                </a:ext>
              </a:extLst>
            </p:cNvPr>
            <p:cNvSpPr/>
            <p:nvPr/>
          </p:nvSpPr>
          <p:spPr>
            <a:xfrm>
              <a:off x="454401" y="1379146"/>
              <a:ext cx="2108140" cy="35433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200" b="1" dirty="0">
                  <a:solidFill>
                    <a:schemeClr val="bg1"/>
                  </a:solidFill>
                </a:rPr>
                <a:t>SikaRoof® Sarnafil® GI-95 LC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3D831979-D07B-4422-BAC6-4B631015F64B}"/>
                </a:ext>
              </a:extLst>
            </p:cNvPr>
            <p:cNvSpPr txBox="1"/>
            <p:nvPr/>
          </p:nvSpPr>
          <p:spPr>
            <a:xfrm>
              <a:off x="454401" y="3212045"/>
              <a:ext cx="2108140" cy="91858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es-ES" sz="10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Cubierta verde – Extensiva – Invertida </a:t>
              </a:r>
              <a:r>
                <a:rPr lang="es-ES" sz="1000" dirty="0">
                  <a:ea typeface="Calibri" panose="020F0502020204030204" pitchFamily="34" charset="0"/>
                  <a:cs typeface="Times New Roman" panose="02020603050405020304" pitchFamily="18" charset="0"/>
                </a:rPr>
                <a:t>XPS</a:t>
              </a:r>
              <a:endParaRPr lang="es-ES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algn="just">
                <a:lnSpc>
                  <a:spcPct val="107000"/>
                </a:lnSpc>
                <a:spcAft>
                  <a:spcPts val="800"/>
                </a:spcAft>
              </a:pPr>
              <a:r>
                <a:rPr lang="es-ES" sz="10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Sistema de cubierta sobre soporte de hormigón basado en membrana FPO con garantía ampliada</a:t>
              </a:r>
            </a:p>
          </p:txBody>
        </p:sp>
        <p:pic>
          <p:nvPicPr>
            <p:cNvPr id="106" name="Content Placeholder 7">
              <a:extLst>
                <a:ext uri="{FF2B5EF4-FFF2-40B4-BE49-F238E27FC236}">
                  <a16:creationId xmlns:a16="http://schemas.microsoft.com/office/drawing/2014/main" id="{0E29B963-F830-446A-B2C0-681D351380E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26" b="326"/>
            <a:stretch/>
          </p:blipFill>
          <p:spPr>
            <a:xfrm>
              <a:off x="815464" y="1979751"/>
              <a:ext cx="1386014" cy="1046496"/>
            </a:xfrm>
            <a:prstGeom prst="rect">
              <a:avLst/>
            </a:prstGeom>
          </p:spPr>
        </p:pic>
        <p:sp>
          <p:nvSpPr>
            <p:cNvPr id="3" name="CuadroTexto 2">
              <a:extLst>
                <a:ext uri="{FF2B5EF4-FFF2-40B4-BE49-F238E27FC236}">
                  <a16:creationId xmlns:a16="http://schemas.microsoft.com/office/drawing/2014/main" id="{4082350C-0FD7-2CF3-676D-D04D446761D9}"/>
                </a:ext>
              </a:extLst>
            </p:cNvPr>
            <p:cNvSpPr txBox="1"/>
            <p:nvPr/>
          </p:nvSpPr>
          <p:spPr>
            <a:xfrm>
              <a:off x="454401" y="4148300"/>
              <a:ext cx="2108140" cy="29238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" sz="1300" b="1" i="0" u="none" strike="noStrike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BIM_</a:t>
              </a:r>
              <a:r>
                <a:rPr lang="es-ES" sz="1300" b="1" dirty="0">
                  <a:solidFill>
                    <a:srgbClr val="000000"/>
                  </a:solidFill>
                </a:rPr>
                <a:t>3_1_2_TG66_GI95LC</a:t>
              </a:r>
              <a:r>
                <a:rPr lang="es-ES" sz="1300" b="1" dirty="0"/>
                <a:t>  </a:t>
              </a:r>
              <a:endParaRPr kumimoji="0" lang="es-ES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6" name="Rectangle 55">
              <a:extLst>
                <a:ext uri="{FF2B5EF4-FFF2-40B4-BE49-F238E27FC236}">
                  <a16:creationId xmlns:a16="http://schemas.microsoft.com/office/drawing/2014/main" id="{636C2864-3C1E-583A-1393-783F534AB9C8}"/>
                </a:ext>
              </a:extLst>
            </p:cNvPr>
            <p:cNvSpPr/>
            <p:nvPr/>
          </p:nvSpPr>
          <p:spPr>
            <a:xfrm>
              <a:off x="2824923" y="1379146"/>
              <a:ext cx="2108140" cy="35433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200" b="1" dirty="0">
                  <a:solidFill>
                    <a:schemeClr val="bg1"/>
                  </a:solidFill>
                </a:rPr>
                <a:t>SikaRoof® Sarnafil® GI-97 LC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TextBox 65">
              <a:extLst>
                <a:ext uri="{FF2B5EF4-FFF2-40B4-BE49-F238E27FC236}">
                  <a16:creationId xmlns:a16="http://schemas.microsoft.com/office/drawing/2014/main" id="{6D6E424D-B6FC-967F-BBF3-B728BCD60C62}"/>
                </a:ext>
              </a:extLst>
            </p:cNvPr>
            <p:cNvSpPr txBox="1"/>
            <p:nvPr/>
          </p:nvSpPr>
          <p:spPr>
            <a:xfrm>
              <a:off x="2824923" y="3206987"/>
              <a:ext cx="2108140" cy="91858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es-ES" sz="10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Cubierta verde – Intensiva – Invertida XPS</a:t>
              </a:r>
            </a:p>
            <a:p>
              <a:pPr algn="just">
                <a:lnSpc>
                  <a:spcPct val="107000"/>
                </a:lnSpc>
                <a:spcAft>
                  <a:spcPts val="800"/>
                </a:spcAft>
              </a:pPr>
              <a:r>
                <a:rPr lang="es-ES" sz="10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Sistema de cubierta sobre soporte de hormigón basado en membrana FPO con garantía ampliada</a:t>
              </a:r>
            </a:p>
          </p:txBody>
        </p:sp>
        <p:pic>
          <p:nvPicPr>
            <p:cNvPr id="8" name="Content Placeholder 7">
              <a:extLst>
                <a:ext uri="{FF2B5EF4-FFF2-40B4-BE49-F238E27FC236}">
                  <a16:creationId xmlns:a16="http://schemas.microsoft.com/office/drawing/2014/main" id="{B23990CC-6E6A-260D-DEC0-CE93FF92504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00" b="600"/>
            <a:stretch/>
          </p:blipFill>
          <p:spPr>
            <a:xfrm>
              <a:off x="3185986" y="1979751"/>
              <a:ext cx="1386014" cy="1046496"/>
            </a:xfrm>
            <a:prstGeom prst="rect">
              <a:avLst/>
            </a:prstGeom>
          </p:spPr>
        </p:pic>
        <p:sp>
          <p:nvSpPr>
            <p:cNvPr id="10" name="CuadroTexto 9">
              <a:extLst>
                <a:ext uri="{FF2B5EF4-FFF2-40B4-BE49-F238E27FC236}">
                  <a16:creationId xmlns:a16="http://schemas.microsoft.com/office/drawing/2014/main" id="{17D6AC84-C52F-2B14-59AC-73980886B87A}"/>
                </a:ext>
              </a:extLst>
            </p:cNvPr>
            <p:cNvSpPr txBox="1"/>
            <p:nvPr/>
          </p:nvSpPr>
          <p:spPr>
            <a:xfrm>
              <a:off x="2824923" y="4148300"/>
              <a:ext cx="2108140" cy="29238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" sz="1300" b="1" i="0" u="none" strike="noStrike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BIM_</a:t>
              </a:r>
              <a:r>
                <a:rPr lang="es-ES" sz="1300" b="1" dirty="0">
                  <a:solidFill>
                    <a:srgbClr val="000000"/>
                  </a:solidFill>
                </a:rPr>
                <a:t>3_1_2_TG66_GI97LC</a:t>
              </a:r>
              <a:r>
                <a:rPr lang="es-ES" sz="1300" b="1" dirty="0"/>
                <a:t>  </a:t>
              </a:r>
              <a:endParaRPr kumimoji="0" lang="es-ES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1" name="Rectangle 55">
              <a:extLst>
                <a:ext uri="{FF2B5EF4-FFF2-40B4-BE49-F238E27FC236}">
                  <a16:creationId xmlns:a16="http://schemas.microsoft.com/office/drawing/2014/main" id="{5053563C-A71E-A12F-4FAE-56540300F020}"/>
                </a:ext>
              </a:extLst>
            </p:cNvPr>
            <p:cNvSpPr/>
            <p:nvPr/>
          </p:nvSpPr>
          <p:spPr>
            <a:xfrm>
              <a:off x="5198976" y="1379146"/>
              <a:ext cx="2108140" cy="35433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err="1">
                  <a:solidFill>
                    <a:schemeClr val="bg1"/>
                  </a:solidFill>
                </a:rPr>
                <a:t>SikaRoof</a:t>
              </a:r>
              <a:r>
                <a:rPr lang="en-US" sz="1200" b="1" dirty="0">
                  <a:solidFill>
                    <a:schemeClr val="bg1"/>
                  </a:solidFill>
                </a:rPr>
                <a:t>® </a:t>
              </a:r>
              <a:r>
                <a:rPr lang="en-US" sz="1200" b="1" dirty="0" err="1">
                  <a:solidFill>
                    <a:schemeClr val="bg1"/>
                  </a:solidFill>
                </a:rPr>
                <a:t>Sarnafil</a:t>
              </a:r>
              <a:r>
                <a:rPr lang="en-US" sz="1200" b="1" dirty="0">
                  <a:solidFill>
                    <a:schemeClr val="bg1"/>
                  </a:solidFill>
                </a:rPr>
                <a:t>® GW-91 LC</a:t>
              </a:r>
            </a:p>
          </p:txBody>
        </p:sp>
        <p:sp>
          <p:nvSpPr>
            <p:cNvPr id="12" name="TextBox 65">
              <a:extLst>
                <a:ext uri="{FF2B5EF4-FFF2-40B4-BE49-F238E27FC236}">
                  <a16:creationId xmlns:a16="http://schemas.microsoft.com/office/drawing/2014/main" id="{ABBD6C16-1B56-F625-616E-73E87BB2EF8D}"/>
                </a:ext>
              </a:extLst>
            </p:cNvPr>
            <p:cNvSpPr txBox="1"/>
            <p:nvPr/>
          </p:nvSpPr>
          <p:spPr>
            <a:xfrm>
              <a:off x="5198976" y="3206987"/>
              <a:ext cx="2108140" cy="75392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es-ES" sz="10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Cubierta verde – Extensiva - PIR</a:t>
              </a:r>
            </a:p>
            <a:p>
              <a:pPr algn="just">
                <a:lnSpc>
                  <a:spcPct val="107000"/>
                </a:lnSpc>
                <a:spcAft>
                  <a:spcPts val="800"/>
                </a:spcAft>
              </a:pPr>
              <a:r>
                <a:rPr lang="es-ES" sz="10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Sistema de cubierta sobre soporte de hormigón basado en membrana FPO con garantía ampliada</a:t>
              </a:r>
            </a:p>
          </p:txBody>
        </p:sp>
        <p:pic>
          <p:nvPicPr>
            <p:cNvPr id="13" name="Content Placeholder 7">
              <a:extLst>
                <a:ext uri="{FF2B5EF4-FFF2-40B4-BE49-F238E27FC236}">
                  <a16:creationId xmlns:a16="http://schemas.microsoft.com/office/drawing/2014/main" id="{ADCDC5B5-B1B7-9F15-8885-04B92E6558B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59" b="359"/>
            <a:stretch/>
          </p:blipFill>
          <p:spPr>
            <a:xfrm>
              <a:off x="5560039" y="1979751"/>
              <a:ext cx="1386014" cy="1046496"/>
            </a:xfrm>
            <a:prstGeom prst="rect">
              <a:avLst/>
            </a:prstGeom>
          </p:spPr>
        </p:pic>
        <p:sp>
          <p:nvSpPr>
            <p:cNvPr id="14" name="CuadroTexto 13">
              <a:extLst>
                <a:ext uri="{FF2B5EF4-FFF2-40B4-BE49-F238E27FC236}">
                  <a16:creationId xmlns:a16="http://schemas.microsoft.com/office/drawing/2014/main" id="{16FA6966-01E5-B19B-DEEF-93F73D46BCBB}"/>
                </a:ext>
              </a:extLst>
            </p:cNvPr>
            <p:cNvSpPr txBox="1"/>
            <p:nvPr/>
          </p:nvSpPr>
          <p:spPr>
            <a:xfrm>
              <a:off x="5198976" y="4148300"/>
              <a:ext cx="2108140" cy="29238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" sz="1300" b="1" i="0" u="none" strike="noStrike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BIM_</a:t>
              </a:r>
              <a:r>
                <a:rPr lang="es-ES" sz="1300" b="1" dirty="0">
                  <a:solidFill>
                    <a:srgbClr val="000000"/>
                  </a:solidFill>
                </a:rPr>
                <a:t>3_1_2_TG66_GW91LC</a:t>
              </a:r>
              <a:r>
                <a:rPr lang="es-ES" sz="1300" b="1" dirty="0"/>
                <a:t>  </a:t>
              </a:r>
              <a:endParaRPr kumimoji="0" lang="es-ES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16" name="Straight Connector 60">
              <a:extLst>
                <a:ext uri="{FF2B5EF4-FFF2-40B4-BE49-F238E27FC236}">
                  <a16:creationId xmlns:a16="http://schemas.microsoft.com/office/drawing/2014/main" id="{196D29F4-A259-7AAC-929A-901D898CBC6D}"/>
                </a:ext>
              </a:extLst>
            </p:cNvPr>
            <p:cNvCxnSpPr/>
            <p:nvPr/>
          </p:nvCxnSpPr>
          <p:spPr>
            <a:xfrm>
              <a:off x="2684638" y="1379146"/>
              <a:ext cx="0" cy="2990846"/>
            </a:xfrm>
            <a:prstGeom prst="line">
              <a:avLst/>
            </a:prstGeom>
            <a:ln w="635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60">
              <a:extLst>
                <a:ext uri="{FF2B5EF4-FFF2-40B4-BE49-F238E27FC236}">
                  <a16:creationId xmlns:a16="http://schemas.microsoft.com/office/drawing/2014/main" id="{644300FA-6F4B-6085-2925-D7E8B317A1F4}"/>
                </a:ext>
              </a:extLst>
            </p:cNvPr>
            <p:cNvCxnSpPr/>
            <p:nvPr/>
          </p:nvCxnSpPr>
          <p:spPr>
            <a:xfrm>
              <a:off x="5058692" y="1379146"/>
              <a:ext cx="0" cy="2990846"/>
            </a:xfrm>
            <a:prstGeom prst="line">
              <a:avLst/>
            </a:prstGeom>
            <a:ln w="635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672626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7DA9801-0835-4143-95FD-E14093FEC9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176550"/>
            <a:ext cx="8605837" cy="615613"/>
          </a:xfrm>
        </p:spPr>
        <p:txBody>
          <a:bodyPr/>
          <a:lstStyle/>
          <a:p>
            <a:r>
              <a:rPr lang="en-US" dirty="0"/>
              <a:t>Catálogo objetos bim</a:t>
            </a:r>
            <a:br>
              <a:rPr lang="en-US" dirty="0"/>
            </a:br>
            <a:r>
              <a:rPr lang="en-US" sz="1600" dirty="0">
                <a:solidFill>
                  <a:srgbClr val="787878"/>
                </a:solidFill>
              </a:rPr>
              <a:t>sika </a:t>
            </a:r>
            <a:r>
              <a:rPr lang="en-US" sz="1600" dirty="0" err="1">
                <a:solidFill>
                  <a:srgbClr val="787878"/>
                </a:solidFill>
              </a:rPr>
              <a:t>s.a.u</a:t>
            </a:r>
            <a:r>
              <a:rPr lang="en-US" sz="1600" dirty="0">
                <a:solidFill>
                  <a:srgbClr val="787878"/>
                </a:solidFill>
              </a:rPr>
              <a:t>. </a:t>
            </a:r>
            <a:r>
              <a:rPr lang="en-US" sz="1600" dirty="0" err="1">
                <a:solidFill>
                  <a:srgbClr val="787878"/>
                </a:solidFill>
              </a:rPr>
              <a:t>españa</a:t>
            </a:r>
            <a:endParaRPr lang="en-US" dirty="0">
              <a:solidFill>
                <a:srgbClr val="787878"/>
              </a:solidFill>
            </a:endParaRPr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444E32C3-FFC6-41E3-A361-663774D7500E}"/>
              </a:ext>
            </a:extLst>
          </p:cNvPr>
          <p:cNvSpPr txBox="1">
            <a:spLocks/>
          </p:cNvSpPr>
          <p:nvPr/>
        </p:nvSpPr>
        <p:spPr>
          <a:xfrm>
            <a:off x="287338" y="258763"/>
            <a:ext cx="8605837" cy="512762"/>
          </a:xfrm>
          <a:prstGeom prst="rect">
            <a:avLst/>
          </a:prstGeom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lnSpc>
                <a:spcPts val="2400"/>
              </a:lnSpc>
              <a:spcAft>
                <a:spcPts val="768"/>
              </a:spcAft>
              <a:defRPr/>
            </a:pPr>
            <a:endParaRPr lang="de-DE" sz="2400">
              <a:solidFill>
                <a:schemeClr val="accent3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E5F264E-2CAF-4C07-A85D-E09E87C41E19}"/>
              </a:ext>
            </a:extLst>
          </p:cNvPr>
          <p:cNvSpPr/>
          <p:nvPr/>
        </p:nvSpPr>
        <p:spPr>
          <a:xfrm>
            <a:off x="282575" y="924470"/>
            <a:ext cx="8610600" cy="8082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73B6F68-B092-4FDF-BCC0-2500EBD28810}"/>
              </a:ext>
            </a:extLst>
          </p:cNvPr>
          <p:cNvCxnSpPr>
            <a:cxnSpLocks/>
          </p:cNvCxnSpPr>
          <p:nvPr/>
        </p:nvCxnSpPr>
        <p:spPr>
          <a:xfrm>
            <a:off x="473075" y="4448398"/>
            <a:ext cx="822960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id="{46D81B90-49B1-4C90-A06B-94DEFC5BE405}"/>
              </a:ext>
            </a:extLst>
          </p:cNvPr>
          <p:cNvSpPr txBox="1"/>
          <p:nvPr/>
        </p:nvSpPr>
        <p:spPr>
          <a:xfrm>
            <a:off x="282575" y="1043118"/>
            <a:ext cx="8610599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s-ES" sz="2000" b="1" dirty="0" err="1">
                <a:solidFill>
                  <a:schemeClr val="bg1"/>
                </a:solidFill>
              </a:rPr>
              <a:t>Sarnafil</a:t>
            </a:r>
            <a:r>
              <a:rPr lang="es-ES" sz="2000" b="1" dirty="0">
                <a:solidFill>
                  <a:schemeClr val="bg1"/>
                </a:solidFill>
              </a:rPr>
              <a:t>® TG 66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319983B2-A82A-085C-A39A-4B1A8D90CD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4DB64-94C2-4F1B-9FB8-C4899DD18771}" type="slidenum">
              <a:rPr lang="en-US" altLang="de-DE" smtClean="0"/>
              <a:pPr/>
              <a:t>5</a:t>
            </a:fld>
            <a:r>
              <a:rPr lang="en-GB" altLang="de-DE"/>
              <a:t>  </a:t>
            </a:r>
          </a:p>
        </p:txBody>
      </p:sp>
      <p:sp>
        <p:nvSpPr>
          <p:cNvPr id="9" name="Marcador de pie de página 8">
            <a:extLst>
              <a:ext uri="{FF2B5EF4-FFF2-40B4-BE49-F238E27FC236}">
                <a16:creationId xmlns:a16="http://schemas.microsoft.com/office/drawing/2014/main" id="{F994BD5C-94F8-9C5C-D955-A87A0556EF2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49108" y="4767263"/>
            <a:ext cx="7423292" cy="274637"/>
          </a:xfrm>
        </p:spPr>
        <p:txBody>
          <a:bodyPr/>
          <a:lstStyle/>
          <a:p>
            <a:pPr algn="just"/>
            <a:r>
              <a:rPr lang="es-ES" sz="500" cap="all" dirty="0">
                <a:solidFill>
                  <a:srgbClr val="787878"/>
                </a:solidFill>
                <a:latin typeface="+mj-lt"/>
                <a:ea typeface="+mj-ea"/>
                <a:cs typeface="+mj-cs"/>
              </a:rPr>
              <a:t>ESTE DOCUEMNTO ES DE CARÁCTER INFORMATIVO, PUEDE OBTENER INFORMACIÓN MAS DETALLADA CONSULTANDO EL CODIGO SIKA S.A.U. ESPAÑA. - CONSULTE EL SERVICIO TECNICO DE SIKA PREVIAMENTE A LA UTILIZACIÓN DE LOS PRODUCTOS SIKA.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995BC6F4-B009-5C5B-E801-C676A4CA37F6}"/>
              </a:ext>
            </a:extLst>
          </p:cNvPr>
          <p:cNvSpPr txBox="1"/>
          <p:nvPr/>
        </p:nvSpPr>
        <p:spPr>
          <a:xfrm>
            <a:off x="8315773" y="639935"/>
            <a:ext cx="55976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5B325"/>
              </a:buClr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hlinkClick r:id="rId3" action="ppaction://hlinksldjump"/>
              </a:rPr>
              <a:t>ÍNDICE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925DB842-37D1-4115-97D2-20C87069CC34}"/>
              </a:ext>
            </a:extLst>
          </p:cNvPr>
          <p:cNvSpPr/>
          <p:nvPr/>
        </p:nvSpPr>
        <p:spPr>
          <a:xfrm>
            <a:off x="1171886" y="1378398"/>
            <a:ext cx="2108140" cy="3543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200" b="1" dirty="0">
                <a:solidFill>
                  <a:schemeClr val="bg1"/>
                </a:solidFill>
              </a:rPr>
              <a:t>SikaRoof® Sarnafil® GW-93-LC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D831979-D07B-4422-BAC6-4B631015F64B}"/>
              </a:ext>
            </a:extLst>
          </p:cNvPr>
          <p:cNvSpPr txBox="1"/>
          <p:nvPr/>
        </p:nvSpPr>
        <p:spPr>
          <a:xfrm>
            <a:off x="1185530" y="3172060"/>
            <a:ext cx="2108140" cy="75392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S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ubierta verde – Extensiva – XPS o EPS 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ES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stema de cubierta sobre soporte de hormigón basado en membrana FPO con garantía ampliada</a:t>
            </a:r>
          </a:p>
        </p:txBody>
      </p:sp>
      <p:pic>
        <p:nvPicPr>
          <p:cNvPr id="106" name="Content Placeholder 7">
            <a:extLst>
              <a:ext uri="{FF2B5EF4-FFF2-40B4-BE49-F238E27FC236}">
                <a16:creationId xmlns:a16="http://schemas.microsoft.com/office/drawing/2014/main" id="{0E29B963-F830-446A-B2C0-681D351380E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8" b="408"/>
          <a:stretch/>
        </p:blipFill>
        <p:spPr>
          <a:xfrm>
            <a:off x="1540494" y="1929146"/>
            <a:ext cx="1386014" cy="1046496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4082350C-0FD7-2CF3-676D-D04D446761D9}"/>
              </a:ext>
            </a:extLst>
          </p:cNvPr>
          <p:cNvSpPr txBox="1"/>
          <p:nvPr/>
        </p:nvSpPr>
        <p:spPr>
          <a:xfrm>
            <a:off x="1185530" y="4089271"/>
            <a:ext cx="210814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3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IM_</a:t>
            </a:r>
            <a:r>
              <a:rPr lang="es-ES" sz="1300" b="1" dirty="0">
                <a:solidFill>
                  <a:srgbClr val="000000"/>
                </a:solidFill>
              </a:rPr>
              <a:t>3_1_2_TG66_GW93LC</a:t>
            </a:r>
            <a:r>
              <a:rPr lang="es-ES" sz="1300" b="1" dirty="0"/>
              <a:t>  </a:t>
            </a:r>
            <a:endParaRPr kumimoji="0" lang="es-ES" sz="13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Rectangle 55">
            <a:extLst>
              <a:ext uri="{FF2B5EF4-FFF2-40B4-BE49-F238E27FC236}">
                <a16:creationId xmlns:a16="http://schemas.microsoft.com/office/drawing/2014/main" id="{636C2864-3C1E-583A-1393-783F534AB9C8}"/>
              </a:ext>
            </a:extLst>
          </p:cNvPr>
          <p:cNvSpPr/>
          <p:nvPr/>
        </p:nvSpPr>
        <p:spPr>
          <a:xfrm>
            <a:off x="3517930" y="1378398"/>
            <a:ext cx="2108140" cy="3543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200" b="1" dirty="0">
                <a:solidFill>
                  <a:schemeClr val="bg1"/>
                </a:solidFill>
              </a:rPr>
              <a:t>SikaRoof® Sarnafil® GW-97-LC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7" name="TextBox 65">
            <a:extLst>
              <a:ext uri="{FF2B5EF4-FFF2-40B4-BE49-F238E27FC236}">
                <a16:creationId xmlns:a16="http://schemas.microsoft.com/office/drawing/2014/main" id="{6D6E424D-B6FC-967F-BBF3-B728BCD60C62}"/>
              </a:ext>
            </a:extLst>
          </p:cNvPr>
          <p:cNvSpPr txBox="1"/>
          <p:nvPr/>
        </p:nvSpPr>
        <p:spPr>
          <a:xfrm>
            <a:off x="3524319" y="3194761"/>
            <a:ext cx="2108140" cy="75392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S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ubierta verde – Intensiva – PIR 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ES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stema de cubierta sobre soporte de hormigón basado en membrana FPO con garantía ampliada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B23990CC-6E6A-260D-DEC0-CE93FF92504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1" b="251"/>
          <a:stretch/>
        </p:blipFill>
        <p:spPr>
          <a:xfrm>
            <a:off x="3897580" y="1954309"/>
            <a:ext cx="1386014" cy="1046496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17D6AC84-C52F-2B14-59AC-73980886B87A}"/>
              </a:ext>
            </a:extLst>
          </p:cNvPr>
          <p:cNvSpPr txBox="1"/>
          <p:nvPr/>
        </p:nvSpPr>
        <p:spPr>
          <a:xfrm>
            <a:off x="3524319" y="4089271"/>
            <a:ext cx="2108140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3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IM_</a:t>
            </a:r>
            <a:r>
              <a:rPr lang="es-ES" sz="1300" b="1" dirty="0">
                <a:solidFill>
                  <a:srgbClr val="000000"/>
                </a:solidFill>
              </a:rPr>
              <a:t>3_1_2_TG66_GW97LC</a:t>
            </a:r>
            <a:r>
              <a:rPr lang="es-ES" sz="1300" b="1" dirty="0"/>
              <a:t>  </a:t>
            </a:r>
            <a:endParaRPr kumimoji="0" lang="es-ES" sz="13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Rectangle 55">
            <a:extLst>
              <a:ext uri="{FF2B5EF4-FFF2-40B4-BE49-F238E27FC236}">
                <a16:creationId xmlns:a16="http://schemas.microsoft.com/office/drawing/2014/main" id="{5053563C-A71E-A12F-4FAE-56540300F020}"/>
              </a:ext>
            </a:extLst>
          </p:cNvPr>
          <p:cNvSpPr/>
          <p:nvPr/>
        </p:nvSpPr>
        <p:spPr>
          <a:xfrm>
            <a:off x="5879280" y="1378398"/>
            <a:ext cx="2108140" cy="3543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>
                <a:solidFill>
                  <a:schemeClr val="bg1"/>
                </a:solidFill>
              </a:rPr>
              <a:t>SikaRoof</a:t>
            </a:r>
            <a:r>
              <a:rPr lang="en-US" sz="1200" b="1" dirty="0">
                <a:solidFill>
                  <a:schemeClr val="bg1"/>
                </a:solidFill>
              </a:rPr>
              <a:t>® </a:t>
            </a:r>
            <a:r>
              <a:rPr lang="en-US" sz="1200" b="1" dirty="0" err="1">
                <a:solidFill>
                  <a:schemeClr val="bg1"/>
                </a:solidFill>
              </a:rPr>
              <a:t>Sarnafil</a:t>
            </a:r>
            <a:r>
              <a:rPr lang="en-US" sz="1200" b="1" dirty="0">
                <a:solidFill>
                  <a:schemeClr val="bg1"/>
                </a:solidFill>
              </a:rPr>
              <a:t>® GW-99-LC</a:t>
            </a:r>
          </a:p>
        </p:txBody>
      </p:sp>
      <p:sp>
        <p:nvSpPr>
          <p:cNvPr id="12" name="TextBox 65">
            <a:extLst>
              <a:ext uri="{FF2B5EF4-FFF2-40B4-BE49-F238E27FC236}">
                <a16:creationId xmlns:a16="http://schemas.microsoft.com/office/drawing/2014/main" id="{ABBD6C16-1B56-F625-616E-73E87BB2EF8D}"/>
              </a:ext>
            </a:extLst>
          </p:cNvPr>
          <p:cNvSpPr txBox="1"/>
          <p:nvPr/>
        </p:nvSpPr>
        <p:spPr>
          <a:xfrm>
            <a:off x="5879280" y="3194761"/>
            <a:ext cx="2108140" cy="75392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S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ubierta verde – Intensiva – XPS o EPS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ES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stema de cubierta sobre soporte de hormigón basado en membrana FPO con garantía ampliada</a:t>
            </a:r>
          </a:p>
        </p:txBody>
      </p:sp>
      <p:pic>
        <p:nvPicPr>
          <p:cNvPr id="13" name="Content Placeholder 7">
            <a:extLst>
              <a:ext uri="{FF2B5EF4-FFF2-40B4-BE49-F238E27FC236}">
                <a16:creationId xmlns:a16="http://schemas.microsoft.com/office/drawing/2014/main" id="{ADCDC5B5-B1B7-9F15-8885-04B92E6558B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0" b="140"/>
          <a:stretch/>
        </p:blipFill>
        <p:spPr>
          <a:xfrm>
            <a:off x="6243142" y="1943423"/>
            <a:ext cx="1386014" cy="1046496"/>
          </a:xfrm>
          <a:prstGeom prst="rect">
            <a:avLst/>
          </a:prstGeom>
        </p:spPr>
      </p:pic>
      <p:sp>
        <p:nvSpPr>
          <p:cNvPr id="14" name="CuadroTexto 13">
            <a:extLst>
              <a:ext uri="{FF2B5EF4-FFF2-40B4-BE49-F238E27FC236}">
                <a16:creationId xmlns:a16="http://schemas.microsoft.com/office/drawing/2014/main" id="{16FA6966-01E5-B19B-DEEF-93F73D46BCBB}"/>
              </a:ext>
            </a:extLst>
          </p:cNvPr>
          <p:cNvSpPr txBox="1"/>
          <p:nvPr/>
        </p:nvSpPr>
        <p:spPr>
          <a:xfrm>
            <a:off x="5879281" y="4111972"/>
            <a:ext cx="2108139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3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IM_</a:t>
            </a:r>
            <a:r>
              <a:rPr lang="es-ES" sz="1300" b="1" dirty="0">
                <a:solidFill>
                  <a:srgbClr val="000000"/>
                </a:solidFill>
              </a:rPr>
              <a:t>3_1_2_TG66_GW99LC</a:t>
            </a:r>
            <a:r>
              <a:rPr lang="es-ES" sz="1300" b="1" dirty="0"/>
              <a:t>  </a:t>
            </a:r>
            <a:endParaRPr kumimoji="0" lang="es-ES" sz="13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16" name="Straight Connector 60">
            <a:extLst>
              <a:ext uri="{FF2B5EF4-FFF2-40B4-BE49-F238E27FC236}">
                <a16:creationId xmlns:a16="http://schemas.microsoft.com/office/drawing/2014/main" id="{230A286D-D88A-791F-C6EA-791D4723205C}"/>
              </a:ext>
            </a:extLst>
          </p:cNvPr>
          <p:cNvCxnSpPr/>
          <p:nvPr/>
        </p:nvCxnSpPr>
        <p:spPr>
          <a:xfrm>
            <a:off x="3408994" y="1342818"/>
            <a:ext cx="0" cy="2990846"/>
          </a:xfrm>
          <a:prstGeom prst="line">
            <a:avLst/>
          </a:prstGeom>
          <a:ln w="63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60">
            <a:extLst>
              <a:ext uri="{FF2B5EF4-FFF2-40B4-BE49-F238E27FC236}">
                <a16:creationId xmlns:a16="http://schemas.microsoft.com/office/drawing/2014/main" id="{03345711-DEB3-A14D-C3DA-E67554BC44F6}"/>
              </a:ext>
            </a:extLst>
          </p:cNvPr>
          <p:cNvCxnSpPr/>
          <p:nvPr/>
        </p:nvCxnSpPr>
        <p:spPr>
          <a:xfrm>
            <a:off x="5759982" y="1330541"/>
            <a:ext cx="0" cy="2990846"/>
          </a:xfrm>
          <a:prstGeom prst="line">
            <a:avLst/>
          </a:prstGeom>
          <a:ln w="63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684054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7DA9801-0835-4143-95FD-E14093FEC9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141288"/>
            <a:ext cx="8605837" cy="650876"/>
          </a:xfrm>
        </p:spPr>
        <p:txBody>
          <a:bodyPr/>
          <a:lstStyle/>
          <a:p>
            <a:r>
              <a:rPr lang="en-US" dirty="0"/>
              <a:t>Catálogo objetos bim</a:t>
            </a:r>
            <a:br>
              <a:rPr lang="en-US" dirty="0"/>
            </a:br>
            <a:r>
              <a:rPr lang="en-US" sz="1600" dirty="0">
                <a:solidFill>
                  <a:srgbClr val="787878"/>
                </a:solidFill>
              </a:rPr>
              <a:t>sika </a:t>
            </a:r>
            <a:r>
              <a:rPr lang="en-US" sz="1600" dirty="0" err="1">
                <a:solidFill>
                  <a:srgbClr val="787878"/>
                </a:solidFill>
              </a:rPr>
              <a:t>s.a.u</a:t>
            </a:r>
            <a:r>
              <a:rPr lang="en-US" sz="1600" dirty="0">
                <a:solidFill>
                  <a:srgbClr val="787878"/>
                </a:solidFill>
              </a:rPr>
              <a:t>. </a:t>
            </a:r>
            <a:r>
              <a:rPr lang="en-US" sz="1600" dirty="0" err="1">
                <a:solidFill>
                  <a:srgbClr val="787878"/>
                </a:solidFill>
              </a:rPr>
              <a:t>españa</a:t>
            </a:r>
            <a:endParaRPr lang="en-US" dirty="0">
              <a:solidFill>
                <a:srgbClr val="787878"/>
              </a:solidFill>
            </a:endParaRPr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444E32C3-FFC6-41E3-A361-663774D7500E}"/>
              </a:ext>
            </a:extLst>
          </p:cNvPr>
          <p:cNvSpPr txBox="1">
            <a:spLocks/>
          </p:cNvSpPr>
          <p:nvPr/>
        </p:nvSpPr>
        <p:spPr>
          <a:xfrm>
            <a:off x="287338" y="258763"/>
            <a:ext cx="8605837" cy="512762"/>
          </a:xfrm>
          <a:prstGeom prst="rect">
            <a:avLst/>
          </a:prstGeom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lnSpc>
                <a:spcPts val="2400"/>
              </a:lnSpc>
              <a:spcAft>
                <a:spcPts val="768"/>
              </a:spcAft>
              <a:defRPr/>
            </a:pPr>
            <a:endParaRPr lang="de-DE" sz="2400">
              <a:solidFill>
                <a:schemeClr val="accent3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E5F264E-2CAF-4C07-A85D-E09E87C41E19}"/>
              </a:ext>
            </a:extLst>
          </p:cNvPr>
          <p:cNvSpPr/>
          <p:nvPr/>
        </p:nvSpPr>
        <p:spPr>
          <a:xfrm>
            <a:off x="282575" y="924470"/>
            <a:ext cx="8610600" cy="8082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73B6F68-B092-4FDF-BCC0-2500EBD28810}"/>
              </a:ext>
            </a:extLst>
          </p:cNvPr>
          <p:cNvCxnSpPr>
            <a:cxnSpLocks/>
          </p:cNvCxnSpPr>
          <p:nvPr/>
        </p:nvCxnSpPr>
        <p:spPr>
          <a:xfrm>
            <a:off x="473075" y="4448398"/>
            <a:ext cx="822960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id="{46D81B90-49B1-4C90-A06B-94DEFC5BE405}"/>
              </a:ext>
            </a:extLst>
          </p:cNvPr>
          <p:cNvSpPr txBox="1"/>
          <p:nvPr/>
        </p:nvSpPr>
        <p:spPr>
          <a:xfrm>
            <a:off x="282575" y="1043118"/>
            <a:ext cx="8610600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s-ES" sz="2000" b="1" dirty="0" err="1">
                <a:solidFill>
                  <a:schemeClr val="bg1"/>
                </a:solidFill>
              </a:rPr>
              <a:t>Sarnafil</a:t>
            </a:r>
            <a:r>
              <a:rPr lang="es-ES" sz="2000" b="1" dirty="0">
                <a:solidFill>
                  <a:schemeClr val="bg1"/>
                </a:solidFill>
              </a:rPr>
              <a:t>® TG 66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319983B2-A82A-085C-A39A-4B1A8D90CD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4DB64-94C2-4F1B-9FB8-C4899DD18771}" type="slidenum">
              <a:rPr lang="en-US" altLang="de-DE" smtClean="0"/>
              <a:pPr/>
              <a:t>6</a:t>
            </a:fld>
            <a:r>
              <a:rPr lang="en-GB" altLang="de-DE"/>
              <a:t>  </a:t>
            </a:r>
          </a:p>
        </p:txBody>
      </p:sp>
      <p:sp>
        <p:nvSpPr>
          <p:cNvPr id="9" name="Marcador de pie de página 8">
            <a:extLst>
              <a:ext uri="{FF2B5EF4-FFF2-40B4-BE49-F238E27FC236}">
                <a16:creationId xmlns:a16="http://schemas.microsoft.com/office/drawing/2014/main" id="{F994BD5C-94F8-9C5C-D955-A87A0556EF2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49108" y="4767263"/>
            <a:ext cx="7423292" cy="274637"/>
          </a:xfrm>
        </p:spPr>
        <p:txBody>
          <a:bodyPr/>
          <a:lstStyle/>
          <a:p>
            <a:pPr algn="just"/>
            <a:r>
              <a:rPr lang="es-ES" sz="500" cap="all" dirty="0">
                <a:solidFill>
                  <a:srgbClr val="787878"/>
                </a:solidFill>
                <a:latin typeface="+mj-lt"/>
                <a:ea typeface="+mj-ea"/>
                <a:cs typeface="+mj-cs"/>
              </a:rPr>
              <a:t>ESTE DOCUEMNTO ES DE CARÁCTER INFORMATIVO, PUEDE OBTENER INFORMACIÓN MAS DETALLADA CONSULTANDO EL CODIGO SIKA S.A.U. ESPAÑA. - CONSULTE EL SERVICIO TECNICO DE SIKA PREVIAMENTE A LA UTILIZACIÓN DE LOS PRODUCTOS SIKA.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995BC6F4-B009-5C5B-E801-C676A4CA37F6}"/>
              </a:ext>
            </a:extLst>
          </p:cNvPr>
          <p:cNvSpPr txBox="1"/>
          <p:nvPr/>
        </p:nvSpPr>
        <p:spPr>
          <a:xfrm>
            <a:off x="8315773" y="639935"/>
            <a:ext cx="55976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5B325"/>
              </a:buClr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hlinkClick r:id="rId3" action="ppaction://hlinksldjump"/>
              </a:rPr>
              <a:t>ÍNDICE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925DB842-37D1-4115-97D2-20C87069CC34}"/>
              </a:ext>
            </a:extLst>
          </p:cNvPr>
          <p:cNvSpPr/>
          <p:nvPr/>
        </p:nvSpPr>
        <p:spPr>
          <a:xfrm>
            <a:off x="2342621" y="1381212"/>
            <a:ext cx="2108140" cy="3543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 b="1" dirty="0">
                <a:solidFill>
                  <a:schemeClr val="bg1"/>
                </a:solidFill>
              </a:rPr>
              <a:t>SikaRoof® Sarnafil® GWP-91-LC</a:t>
            </a: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D831979-D07B-4422-BAC6-4B631015F64B}"/>
              </a:ext>
            </a:extLst>
          </p:cNvPr>
          <p:cNvSpPr txBox="1"/>
          <p:nvPr/>
        </p:nvSpPr>
        <p:spPr>
          <a:xfrm>
            <a:off x="2342621" y="3095195"/>
            <a:ext cx="2108140" cy="10211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S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ubierta verde – </a:t>
            </a:r>
            <a:r>
              <a:rPr lang="es-ES" sz="1000" dirty="0">
                <a:ea typeface="Calibri" panose="020F0502020204030204" pitchFamily="34" charset="0"/>
                <a:cs typeface="Times New Roman" panose="02020603050405020304" pitchFamily="18" charset="0"/>
              </a:rPr>
              <a:t>Extensiva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S" sz="1000" dirty="0" err="1">
                <a:ea typeface="Calibri" panose="020F0502020204030204" pitchFamily="34" charset="0"/>
                <a:cs typeface="Times New Roman" panose="02020603050405020304" pitchFamily="18" charset="0"/>
              </a:rPr>
              <a:t>Sikatherm</a:t>
            </a:r>
            <a:r>
              <a:rPr lang="es-ES" sz="1000" dirty="0">
                <a:ea typeface="Calibri" panose="020F0502020204030204" pitchFamily="34" charset="0"/>
                <a:cs typeface="Times New Roman" panose="02020603050405020304" pitchFamily="18" charset="0"/>
              </a:rPr>
              <a:t>-PIR</a:t>
            </a:r>
            <a:r>
              <a:rPr lang="es-ES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ES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stema de cubierta sobre soporte de hormigón basado en membrana FPO con garantía ampliada</a:t>
            </a:r>
          </a:p>
        </p:txBody>
      </p:sp>
      <p:pic>
        <p:nvPicPr>
          <p:cNvPr id="106" name="Content Placeholder 7">
            <a:extLst>
              <a:ext uri="{FF2B5EF4-FFF2-40B4-BE49-F238E27FC236}">
                <a16:creationId xmlns:a16="http://schemas.microsoft.com/office/drawing/2014/main" id="{0E29B963-F830-446A-B2C0-681D351380E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6" b="276"/>
          <a:stretch/>
        </p:blipFill>
        <p:spPr>
          <a:xfrm>
            <a:off x="2703684" y="1943419"/>
            <a:ext cx="1386014" cy="1046496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4082350C-0FD7-2CF3-676D-D04D446761D9}"/>
              </a:ext>
            </a:extLst>
          </p:cNvPr>
          <p:cNvSpPr txBox="1"/>
          <p:nvPr/>
        </p:nvSpPr>
        <p:spPr>
          <a:xfrm>
            <a:off x="2342621" y="4117120"/>
            <a:ext cx="210814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IM_</a:t>
            </a:r>
            <a:r>
              <a:rPr lang="es-ES" sz="1200" b="1" dirty="0">
                <a:solidFill>
                  <a:srgbClr val="000000"/>
                </a:solidFill>
              </a:rPr>
              <a:t>3_1_2_TG66_GWP91LC</a:t>
            </a:r>
            <a:r>
              <a:rPr lang="es-ES" sz="1200" b="1" dirty="0"/>
              <a:t>  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Rectangle 55">
            <a:extLst>
              <a:ext uri="{FF2B5EF4-FFF2-40B4-BE49-F238E27FC236}">
                <a16:creationId xmlns:a16="http://schemas.microsoft.com/office/drawing/2014/main" id="{636C2864-3C1E-583A-1393-783F534AB9C8}"/>
              </a:ext>
            </a:extLst>
          </p:cNvPr>
          <p:cNvSpPr/>
          <p:nvPr/>
        </p:nvSpPr>
        <p:spPr>
          <a:xfrm>
            <a:off x="4693238" y="1381075"/>
            <a:ext cx="2108140" cy="3543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 b="1" dirty="0">
                <a:solidFill>
                  <a:schemeClr val="bg1"/>
                </a:solidFill>
              </a:rPr>
              <a:t>SikaRoof® Sarnafil® GWP-93-LC</a:t>
            </a: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7" name="TextBox 65">
            <a:extLst>
              <a:ext uri="{FF2B5EF4-FFF2-40B4-BE49-F238E27FC236}">
                <a16:creationId xmlns:a16="http://schemas.microsoft.com/office/drawing/2014/main" id="{6D6E424D-B6FC-967F-BBF3-B728BCD60C62}"/>
              </a:ext>
            </a:extLst>
          </p:cNvPr>
          <p:cNvSpPr txBox="1"/>
          <p:nvPr/>
        </p:nvSpPr>
        <p:spPr>
          <a:xfrm>
            <a:off x="4693238" y="3090099"/>
            <a:ext cx="2108140" cy="10211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S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ubierta verde – Intensiva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S" sz="1000" dirty="0" err="1">
                <a:ea typeface="Calibri" panose="020F0502020204030204" pitchFamily="34" charset="0"/>
                <a:cs typeface="Times New Roman" panose="02020603050405020304" pitchFamily="18" charset="0"/>
              </a:rPr>
              <a:t>Sikatherm</a:t>
            </a:r>
            <a:r>
              <a:rPr lang="es-ES" sz="1000" dirty="0">
                <a:ea typeface="Calibri" panose="020F0502020204030204" pitchFamily="34" charset="0"/>
                <a:cs typeface="Times New Roman" panose="02020603050405020304" pitchFamily="18" charset="0"/>
              </a:rPr>
              <a:t>-PIR</a:t>
            </a:r>
            <a:r>
              <a:rPr lang="es-ES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s-ES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stema de cubierta sobre soporte de hormigón basado en membrana FPO con garantía ampliada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B23990CC-6E6A-260D-DEC0-CE93FF92504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3" b="273"/>
          <a:stretch/>
        </p:blipFill>
        <p:spPr>
          <a:xfrm>
            <a:off x="5054301" y="1943419"/>
            <a:ext cx="1386014" cy="1046496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17D6AC84-C52F-2B14-59AC-73980886B87A}"/>
              </a:ext>
            </a:extLst>
          </p:cNvPr>
          <p:cNvSpPr txBox="1"/>
          <p:nvPr/>
        </p:nvSpPr>
        <p:spPr>
          <a:xfrm>
            <a:off x="4693238" y="4111968"/>
            <a:ext cx="210814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IM_</a:t>
            </a:r>
            <a:r>
              <a:rPr lang="es-ES" sz="1200" b="1" dirty="0">
                <a:solidFill>
                  <a:srgbClr val="000000"/>
                </a:solidFill>
              </a:rPr>
              <a:t>3_1_2_TG66_GWP93LC</a:t>
            </a:r>
            <a:r>
              <a:rPr lang="es-ES" sz="1200" b="1" dirty="0"/>
              <a:t>  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11" name="Straight Connector 60">
            <a:extLst>
              <a:ext uri="{FF2B5EF4-FFF2-40B4-BE49-F238E27FC236}">
                <a16:creationId xmlns:a16="http://schemas.microsoft.com/office/drawing/2014/main" id="{161AC6A8-C294-5C16-6D22-D843C1CCC842}"/>
              </a:ext>
            </a:extLst>
          </p:cNvPr>
          <p:cNvCxnSpPr/>
          <p:nvPr/>
        </p:nvCxnSpPr>
        <p:spPr>
          <a:xfrm>
            <a:off x="4572000" y="1398121"/>
            <a:ext cx="0" cy="2990846"/>
          </a:xfrm>
          <a:prstGeom prst="line">
            <a:avLst/>
          </a:prstGeom>
          <a:ln w="63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185894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7DA9801-0835-4143-95FD-E14093FEC9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141288"/>
            <a:ext cx="8605837" cy="650876"/>
          </a:xfrm>
        </p:spPr>
        <p:txBody>
          <a:bodyPr/>
          <a:lstStyle/>
          <a:p>
            <a:r>
              <a:rPr lang="en-US" dirty="0"/>
              <a:t>Catálogo objetos bim</a:t>
            </a:r>
            <a:br>
              <a:rPr lang="en-US" dirty="0"/>
            </a:br>
            <a:r>
              <a:rPr lang="en-US" sz="1600" dirty="0">
                <a:solidFill>
                  <a:srgbClr val="787878"/>
                </a:solidFill>
              </a:rPr>
              <a:t>sika </a:t>
            </a:r>
            <a:r>
              <a:rPr lang="en-US" sz="1600" dirty="0" err="1">
                <a:solidFill>
                  <a:srgbClr val="787878"/>
                </a:solidFill>
              </a:rPr>
              <a:t>s.a.u</a:t>
            </a:r>
            <a:r>
              <a:rPr lang="en-US" sz="1600" dirty="0">
                <a:solidFill>
                  <a:srgbClr val="787878"/>
                </a:solidFill>
              </a:rPr>
              <a:t>. </a:t>
            </a:r>
            <a:r>
              <a:rPr lang="en-US" sz="1600" dirty="0" err="1">
                <a:solidFill>
                  <a:srgbClr val="787878"/>
                </a:solidFill>
              </a:rPr>
              <a:t>españa</a:t>
            </a:r>
            <a:endParaRPr lang="en-US" dirty="0">
              <a:solidFill>
                <a:srgbClr val="787878"/>
              </a:solidFill>
            </a:endParaRPr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444E32C3-FFC6-41E3-A361-663774D7500E}"/>
              </a:ext>
            </a:extLst>
          </p:cNvPr>
          <p:cNvSpPr txBox="1">
            <a:spLocks/>
          </p:cNvSpPr>
          <p:nvPr/>
        </p:nvSpPr>
        <p:spPr>
          <a:xfrm>
            <a:off x="287338" y="258763"/>
            <a:ext cx="8605837" cy="512762"/>
          </a:xfrm>
          <a:prstGeom prst="rect">
            <a:avLst/>
          </a:prstGeom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lnSpc>
                <a:spcPts val="2400"/>
              </a:lnSpc>
              <a:spcAft>
                <a:spcPts val="768"/>
              </a:spcAft>
              <a:defRPr/>
            </a:pPr>
            <a:endParaRPr lang="de-DE" sz="2400">
              <a:solidFill>
                <a:schemeClr val="accent3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E5F264E-2CAF-4C07-A85D-E09E87C41E19}"/>
              </a:ext>
            </a:extLst>
          </p:cNvPr>
          <p:cNvSpPr/>
          <p:nvPr/>
        </p:nvSpPr>
        <p:spPr>
          <a:xfrm>
            <a:off x="282575" y="924470"/>
            <a:ext cx="8610600" cy="8082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73B6F68-B092-4FDF-BCC0-2500EBD28810}"/>
              </a:ext>
            </a:extLst>
          </p:cNvPr>
          <p:cNvCxnSpPr>
            <a:cxnSpLocks/>
          </p:cNvCxnSpPr>
          <p:nvPr/>
        </p:nvCxnSpPr>
        <p:spPr>
          <a:xfrm>
            <a:off x="473075" y="4448398"/>
            <a:ext cx="822960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id="{46D81B90-49B1-4C90-A06B-94DEFC5BE405}"/>
              </a:ext>
            </a:extLst>
          </p:cNvPr>
          <p:cNvSpPr txBox="1"/>
          <p:nvPr/>
        </p:nvSpPr>
        <p:spPr>
          <a:xfrm>
            <a:off x="282575" y="1043118"/>
            <a:ext cx="8610600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s-ES" sz="2000" b="1" dirty="0" err="1">
                <a:solidFill>
                  <a:schemeClr val="bg1"/>
                </a:solidFill>
              </a:rPr>
              <a:t>Sarnafil</a:t>
            </a:r>
            <a:r>
              <a:rPr lang="es-ES" sz="2000" b="1" dirty="0">
                <a:solidFill>
                  <a:schemeClr val="bg1"/>
                </a:solidFill>
              </a:rPr>
              <a:t>® TS 77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319983B2-A82A-085C-A39A-4B1A8D90CD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4DB64-94C2-4F1B-9FB8-C4899DD18771}" type="slidenum">
              <a:rPr lang="en-US" altLang="de-DE" smtClean="0"/>
              <a:pPr/>
              <a:t>7</a:t>
            </a:fld>
            <a:r>
              <a:rPr lang="en-GB" altLang="de-DE"/>
              <a:t>  </a:t>
            </a:r>
          </a:p>
        </p:txBody>
      </p:sp>
      <p:sp>
        <p:nvSpPr>
          <p:cNvPr id="9" name="Marcador de pie de página 8">
            <a:extLst>
              <a:ext uri="{FF2B5EF4-FFF2-40B4-BE49-F238E27FC236}">
                <a16:creationId xmlns:a16="http://schemas.microsoft.com/office/drawing/2014/main" id="{F994BD5C-94F8-9C5C-D955-A87A0556EF2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49108" y="4767263"/>
            <a:ext cx="7423292" cy="274637"/>
          </a:xfrm>
        </p:spPr>
        <p:txBody>
          <a:bodyPr/>
          <a:lstStyle/>
          <a:p>
            <a:pPr algn="just"/>
            <a:r>
              <a:rPr lang="es-ES" sz="500" cap="all" dirty="0">
                <a:solidFill>
                  <a:srgbClr val="787878"/>
                </a:solidFill>
                <a:latin typeface="+mj-lt"/>
                <a:ea typeface="+mj-ea"/>
                <a:cs typeface="+mj-cs"/>
              </a:rPr>
              <a:t>ESTE DOCUEMNTO ES DE CARÁCTER INFORMATIVO, PUEDE OBTENER INFORMACIÓN MAS DETALLADA CONSULTANDO EL CODIGO SIKA S.A.U. ESPAÑA. - CONSULTE EL SERVICIO TECNICO DE SIKA PREVIAMENTE A LA UTILIZACIÓN DE LOS PRODUCTOS SIKA.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995BC6F4-B009-5C5B-E801-C676A4CA37F6}"/>
              </a:ext>
            </a:extLst>
          </p:cNvPr>
          <p:cNvSpPr txBox="1"/>
          <p:nvPr/>
        </p:nvSpPr>
        <p:spPr>
          <a:xfrm>
            <a:off x="8315773" y="639935"/>
            <a:ext cx="55976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5B325"/>
              </a:buClr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hlinkClick r:id="rId3" action="ppaction://hlinksldjump"/>
              </a:rPr>
              <a:t>ÍNDICE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6" name="Grupo 5">
            <a:extLst>
              <a:ext uri="{FF2B5EF4-FFF2-40B4-BE49-F238E27FC236}">
                <a16:creationId xmlns:a16="http://schemas.microsoft.com/office/drawing/2014/main" id="{845B61C4-3706-869E-2D4F-42A681C63BAC}"/>
              </a:ext>
            </a:extLst>
          </p:cNvPr>
          <p:cNvGrpSpPr/>
          <p:nvPr/>
        </p:nvGrpSpPr>
        <p:grpSpPr>
          <a:xfrm>
            <a:off x="1436001" y="1382783"/>
            <a:ext cx="6271998" cy="2996529"/>
            <a:chOff x="282575" y="1376823"/>
            <a:chExt cx="6271998" cy="2996529"/>
          </a:xfrm>
        </p:grpSpPr>
        <p:sp>
          <p:nvSpPr>
            <p:cNvPr id="14" name="Rectangle 56">
              <a:extLst>
                <a:ext uri="{FF2B5EF4-FFF2-40B4-BE49-F238E27FC236}">
                  <a16:creationId xmlns:a16="http://schemas.microsoft.com/office/drawing/2014/main" id="{503F994B-84F5-8493-4D0B-C07231707692}"/>
                </a:ext>
              </a:extLst>
            </p:cNvPr>
            <p:cNvSpPr/>
            <p:nvPr/>
          </p:nvSpPr>
          <p:spPr>
            <a:xfrm>
              <a:off x="2506309" y="1380614"/>
              <a:ext cx="1971250" cy="35433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100" b="1" dirty="0" err="1">
                  <a:latin typeface="Calibri" panose="020F0502020204030204" pitchFamily="34" charset="0"/>
                </a:rPr>
                <a:t>SikaRoof</a:t>
              </a:r>
              <a:r>
                <a:rPr lang="es-ES" sz="1100" b="1" dirty="0">
                  <a:latin typeface="Calibri" panose="020F0502020204030204" pitchFamily="34" charset="0"/>
                </a:rPr>
                <a:t>® </a:t>
              </a:r>
              <a:r>
                <a:rPr lang="es-ES" sz="1100" b="1" dirty="0" err="1">
                  <a:latin typeface="Calibri" panose="020F0502020204030204" pitchFamily="34" charset="0"/>
                </a:rPr>
                <a:t>Sarnafil</a:t>
              </a:r>
              <a:r>
                <a:rPr lang="es-ES" sz="1100" b="1" dirty="0">
                  <a:latin typeface="Calibri" panose="020F0502020204030204" pitchFamily="34" charset="0"/>
                </a:rPr>
                <a:t>® EW 91 MS</a:t>
              </a:r>
              <a:endParaRPr lang="en-US" sz="1100" b="1" dirty="0">
                <a:latin typeface="Calibri" panose="020F0502020204030204" pitchFamily="34" charset="0"/>
              </a:endParaRPr>
            </a:p>
          </p:txBody>
        </p:sp>
        <p:sp>
          <p:nvSpPr>
            <p:cNvPr id="16" name="Rectangle 57">
              <a:extLst>
                <a:ext uri="{FF2B5EF4-FFF2-40B4-BE49-F238E27FC236}">
                  <a16:creationId xmlns:a16="http://schemas.microsoft.com/office/drawing/2014/main" id="{D0F39484-5F18-22E4-DB4B-3DE41047D503}"/>
                </a:ext>
              </a:extLst>
            </p:cNvPr>
            <p:cNvSpPr/>
            <p:nvPr/>
          </p:nvSpPr>
          <p:spPr>
            <a:xfrm>
              <a:off x="4574224" y="1377047"/>
              <a:ext cx="1971250" cy="35433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100" b="1" dirty="0" err="1">
                  <a:latin typeface="Calibri" panose="020F0502020204030204" pitchFamily="34" charset="0"/>
                </a:rPr>
                <a:t>SikaRoof</a:t>
              </a:r>
              <a:r>
                <a:rPr lang="es-ES" sz="1100" b="1" dirty="0">
                  <a:latin typeface="Calibri" panose="020F0502020204030204" pitchFamily="34" charset="0"/>
                </a:rPr>
                <a:t>® </a:t>
              </a:r>
              <a:r>
                <a:rPr lang="es-ES" sz="1100" b="1" dirty="0" err="1">
                  <a:latin typeface="Calibri" panose="020F0502020204030204" pitchFamily="34" charset="0"/>
                </a:rPr>
                <a:t>Sarnafil</a:t>
              </a:r>
              <a:r>
                <a:rPr lang="es-ES" sz="1100" b="1" dirty="0">
                  <a:latin typeface="Calibri" panose="020F0502020204030204" pitchFamily="34" charset="0"/>
                </a:rPr>
                <a:t>® EW 93 MC</a:t>
              </a:r>
              <a:endParaRPr lang="en-US" sz="1100" b="1" dirty="0">
                <a:latin typeface="Calibri" panose="020F0502020204030204" pitchFamily="34" charset="0"/>
              </a:endParaRPr>
            </a:p>
          </p:txBody>
        </p:sp>
        <p:cxnSp>
          <p:nvCxnSpPr>
            <p:cNvPr id="18" name="Straight Connector 60">
              <a:extLst>
                <a:ext uri="{FF2B5EF4-FFF2-40B4-BE49-F238E27FC236}">
                  <a16:creationId xmlns:a16="http://schemas.microsoft.com/office/drawing/2014/main" id="{9CC91487-A271-DAE0-74A8-508DF90A772A}"/>
                </a:ext>
              </a:extLst>
            </p:cNvPr>
            <p:cNvCxnSpPr>
              <a:cxnSpLocks/>
            </p:cNvCxnSpPr>
            <p:nvPr/>
          </p:nvCxnSpPr>
          <p:spPr>
            <a:xfrm>
              <a:off x="2439775" y="1496907"/>
              <a:ext cx="0" cy="2844834"/>
            </a:xfrm>
            <a:prstGeom prst="line">
              <a:avLst/>
            </a:prstGeom>
            <a:ln w="635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61">
              <a:extLst>
                <a:ext uri="{FF2B5EF4-FFF2-40B4-BE49-F238E27FC236}">
                  <a16:creationId xmlns:a16="http://schemas.microsoft.com/office/drawing/2014/main" id="{67BF26AB-551E-CA5B-80CE-2E3F4391F19A}"/>
                </a:ext>
              </a:extLst>
            </p:cNvPr>
            <p:cNvCxnSpPr>
              <a:cxnSpLocks/>
            </p:cNvCxnSpPr>
            <p:nvPr/>
          </p:nvCxnSpPr>
          <p:spPr>
            <a:xfrm>
              <a:off x="4525891" y="1496907"/>
              <a:ext cx="0" cy="2844834"/>
            </a:xfrm>
            <a:prstGeom prst="line">
              <a:avLst/>
            </a:prstGeom>
            <a:ln w="635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67">
              <a:extLst>
                <a:ext uri="{FF2B5EF4-FFF2-40B4-BE49-F238E27FC236}">
                  <a16:creationId xmlns:a16="http://schemas.microsoft.com/office/drawing/2014/main" id="{0DC9C423-1773-01BF-AD75-00D028BF49A2}"/>
                </a:ext>
              </a:extLst>
            </p:cNvPr>
            <p:cNvSpPr txBox="1"/>
            <p:nvPr/>
          </p:nvSpPr>
          <p:spPr>
            <a:xfrm>
              <a:off x="2506308" y="3274560"/>
              <a:ext cx="1971249" cy="86177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just"/>
              <a:r>
                <a:rPr lang="es-ES" sz="800" dirty="0">
                  <a:solidFill>
                    <a:srgbClr val="000000"/>
                  </a:solidFill>
                  <a:latin typeface="Calibri" panose="020F0502020204030204" pitchFamily="34" charset="0"/>
                </a:rPr>
                <a:t>Sistema de cubierta vista sobre soporte metálico basado en membrana FPO </a:t>
              </a:r>
            </a:p>
            <a:p>
              <a:pPr algn="just"/>
              <a:r>
                <a:rPr lang="es-ES" sz="800" dirty="0" err="1">
                  <a:solidFill>
                    <a:srgbClr val="000000"/>
                  </a:solidFill>
                  <a:latin typeface="Calibri" panose="020F0502020204030204" pitchFamily="34" charset="0"/>
                </a:rPr>
                <a:t>Sarnafil</a:t>
              </a:r>
              <a:r>
                <a:rPr lang="es-ES" sz="800" dirty="0">
                  <a:solidFill>
                    <a:srgbClr val="000000"/>
                  </a:solidFill>
                  <a:latin typeface="Calibri" panose="020F0502020204030204" pitchFamily="34" charset="0"/>
                </a:rPr>
                <a:t>® TS 77 fijada mecánicamente con </a:t>
              </a:r>
              <a:r>
                <a:rPr lang="es-ES" sz="800" dirty="0" err="1">
                  <a:solidFill>
                    <a:srgbClr val="000000"/>
                  </a:solidFill>
                  <a:latin typeface="Calibri" panose="020F0502020204030204" pitchFamily="34" charset="0"/>
                </a:rPr>
                <a:t>Sarnafast</a:t>
              </a:r>
              <a:r>
                <a:rPr lang="es-ES" sz="800" dirty="0">
                  <a:solidFill>
                    <a:srgbClr val="000000"/>
                  </a:solidFill>
                  <a:latin typeface="Calibri" panose="020F0502020204030204" pitchFamily="34" charset="0"/>
                </a:rPr>
                <a:t>® SBF 4.8 mm y </a:t>
              </a:r>
            </a:p>
            <a:p>
              <a:pPr algn="just"/>
              <a:r>
                <a:rPr lang="es-ES" sz="800" dirty="0" err="1">
                  <a:solidFill>
                    <a:srgbClr val="000000"/>
                  </a:solidFill>
                  <a:latin typeface="Calibri" panose="020F0502020204030204" pitchFamily="34" charset="0"/>
                </a:rPr>
                <a:t>Sarnafast</a:t>
              </a:r>
              <a:r>
                <a:rPr lang="es-ES" sz="800" dirty="0">
                  <a:solidFill>
                    <a:srgbClr val="000000"/>
                  </a:solidFill>
                  <a:latin typeface="Calibri" panose="020F0502020204030204" pitchFamily="34" charset="0"/>
                </a:rPr>
                <a:t>® </a:t>
              </a:r>
              <a:r>
                <a:rPr lang="es-ES" sz="800" dirty="0" err="1">
                  <a:solidFill>
                    <a:srgbClr val="000000"/>
                  </a:solidFill>
                  <a:latin typeface="Calibri" panose="020F0502020204030204" pitchFamily="34" charset="0"/>
                </a:rPr>
                <a:t>Washer</a:t>
              </a:r>
              <a:r>
                <a:rPr lang="es-ES" sz="800" dirty="0">
                  <a:solidFill>
                    <a:srgbClr val="000000"/>
                  </a:solidFill>
                  <a:latin typeface="Calibri" panose="020F0502020204030204" pitchFamily="34" charset="0"/>
                </a:rPr>
                <a:t> KTL, barrera de vapor </a:t>
              </a:r>
              <a:r>
                <a:rPr lang="es-ES" sz="800" dirty="0" err="1">
                  <a:solidFill>
                    <a:srgbClr val="000000"/>
                  </a:solidFill>
                  <a:latin typeface="Calibri" panose="020F0502020204030204" pitchFamily="34" charset="0"/>
                </a:rPr>
                <a:t>Sarnavap</a:t>
              </a:r>
              <a:r>
                <a:rPr lang="es-ES" sz="800" dirty="0">
                  <a:solidFill>
                    <a:srgbClr val="000000"/>
                  </a:solidFill>
                  <a:latin typeface="Calibri" panose="020F0502020204030204" pitchFamily="34" charset="0"/>
                </a:rPr>
                <a:t>® 1000 E, para instalar junto con aislamiento de lana mineral o PIR</a:t>
              </a:r>
            </a:p>
          </p:txBody>
        </p:sp>
        <p:sp>
          <p:nvSpPr>
            <p:cNvPr id="22" name="TextBox 83">
              <a:extLst>
                <a:ext uri="{FF2B5EF4-FFF2-40B4-BE49-F238E27FC236}">
                  <a16:creationId xmlns:a16="http://schemas.microsoft.com/office/drawing/2014/main" id="{24CE4E00-1567-F638-4BB0-3B6E9193FC1C}"/>
                </a:ext>
              </a:extLst>
            </p:cNvPr>
            <p:cNvSpPr txBox="1"/>
            <p:nvPr/>
          </p:nvSpPr>
          <p:spPr>
            <a:xfrm>
              <a:off x="4583323" y="3274560"/>
              <a:ext cx="1971250" cy="86177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just"/>
              <a:r>
                <a:rPr lang="es-ES" sz="800" dirty="0">
                  <a:solidFill>
                    <a:srgbClr val="000000"/>
                  </a:solidFill>
                  <a:latin typeface="Calibri" panose="020F0502020204030204" pitchFamily="34" charset="0"/>
                </a:rPr>
                <a:t>Sistema de cubierta vista sobre soporte de hormigón basado en membrana FPO </a:t>
              </a:r>
            </a:p>
            <a:p>
              <a:pPr algn="just"/>
              <a:r>
                <a:rPr lang="es-ES" sz="800" dirty="0" err="1">
                  <a:solidFill>
                    <a:srgbClr val="000000"/>
                  </a:solidFill>
                  <a:latin typeface="Calibri" panose="020F0502020204030204" pitchFamily="34" charset="0"/>
                </a:rPr>
                <a:t>Sarnafil</a:t>
              </a:r>
              <a:r>
                <a:rPr lang="es-ES" sz="800" dirty="0">
                  <a:solidFill>
                    <a:srgbClr val="000000"/>
                  </a:solidFill>
                  <a:latin typeface="Calibri" panose="020F0502020204030204" pitchFamily="34" charset="0"/>
                </a:rPr>
                <a:t>® TS 77 fijada mecánicamente con </a:t>
              </a:r>
              <a:r>
                <a:rPr lang="es-ES" sz="800" dirty="0" err="1">
                  <a:solidFill>
                    <a:srgbClr val="000000"/>
                  </a:solidFill>
                  <a:latin typeface="Calibri" panose="020F0502020204030204" pitchFamily="34" charset="0"/>
                </a:rPr>
                <a:t>Sarnafast</a:t>
              </a:r>
              <a:r>
                <a:rPr lang="es-ES" sz="800" dirty="0">
                  <a:solidFill>
                    <a:srgbClr val="000000"/>
                  </a:solidFill>
                  <a:latin typeface="Calibri" panose="020F0502020204030204" pitchFamily="34" charset="0"/>
                </a:rPr>
                <a:t>® SBF 6,0 mm y </a:t>
              </a:r>
            </a:p>
            <a:p>
              <a:pPr algn="just"/>
              <a:r>
                <a:rPr lang="es-ES" sz="800" dirty="0" err="1">
                  <a:solidFill>
                    <a:srgbClr val="000000"/>
                  </a:solidFill>
                  <a:latin typeface="Calibri" panose="020F0502020204030204" pitchFamily="34" charset="0"/>
                </a:rPr>
                <a:t>Sarnafast</a:t>
              </a:r>
              <a:r>
                <a:rPr lang="es-ES" sz="800" dirty="0">
                  <a:solidFill>
                    <a:srgbClr val="000000"/>
                  </a:solidFill>
                  <a:latin typeface="Calibri" panose="020F0502020204030204" pitchFamily="34" charset="0"/>
                </a:rPr>
                <a:t>® </a:t>
              </a:r>
              <a:r>
                <a:rPr lang="es-ES" sz="800" dirty="0" err="1">
                  <a:solidFill>
                    <a:srgbClr val="000000"/>
                  </a:solidFill>
                  <a:latin typeface="Calibri" panose="020F0502020204030204" pitchFamily="34" charset="0"/>
                </a:rPr>
                <a:t>Washer</a:t>
              </a:r>
              <a:r>
                <a:rPr lang="es-ES" sz="800" dirty="0">
                  <a:solidFill>
                    <a:srgbClr val="000000"/>
                  </a:solidFill>
                  <a:latin typeface="Calibri" panose="020F0502020204030204" pitchFamily="34" charset="0"/>
                </a:rPr>
                <a:t> KTL, barrera de vapor </a:t>
              </a:r>
              <a:r>
                <a:rPr lang="es-ES" sz="800" dirty="0" err="1">
                  <a:solidFill>
                    <a:srgbClr val="000000"/>
                  </a:solidFill>
                  <a:latin typeface="Calibri" panose="020F0502020204030204" pitchFamily="34" charset="0"/>
                </a:rPr>
                <a:t>Sarnavap</a:t>
              </a:r>
              <a:r>
                <a:rPr lang="es-ES" sz="800" dirty="0">
                  <a:solidFill>
                    <a:srgbClr val="000000"/>
                  </a:solidFill>
                  <a:latin typeface="Calibri" panose="020F0502020204030204" pitchFamily="34" charset="0"/>
                </a:rPr>
                <a:t>® 5000 E SA, para instalar junto con aislamiento XPS o EPS</a:t>
              </a:r>
            </a:p>
          </p:txBody>
        </p:sp>
        <p:sp>
          <p:nvSpPr>
            <p:cNvPr id="27" name="CuadroTexto 26">
              <a:extLst>
                <a:ext uri="{FF2B5EF4-FFF2-40B4-BE49-F238E27FC236}">
                  <a16:creationId xmlns:a16="http://schemas.microsoft.com/office/drawing/2014/main" id="{26DA4D04-7B67-78E4-D8BA-299BA859E7A7}"/>
                </a:ext>
              </a:extLst>
            </p:cNvPr>
            <p:cNvSpPr txBox="1"/>
            <p:nvPr/>
          </p:nvSpPr>
          <p:spPr>
            <a:xfrm>
              <a:off x="411090" y="4111150"/>
              <a:ext cx="1971250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100" b="1" i="0" u="none" strike="noStrike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BIM_2_1_2</a:t>
              </a:r>
              <a:r>
                <a:rPr lang="de-DE" sz="1100" b="1" dirty="0">
                  <a:solidFill>
                    <a:srgbClr val="000000"/>
                  </a:solidFill>
                </a:rPr>
                <a:t>-</a:t>
              </a:r>
              <a:r>
                <a:rPr lang="de-DE" sz="1100" b="1" i="0" u="none" strike="noStrike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EW-91-MC</a:t>
              </a:r>
              <a:r>
                <a:rPr lang="es-ES" sz="1100" b="1" dirty="0"/>
                <a:t>  </a:t>
              </a:r>
              <a:endParaRPr kumimoji="0" lang="es-E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28" name="CuadroTexto 27">
              <a:extLst>
                <a:ext uri="{FF2B5EF4-FFF2-40B4-BE49-F238E27FC236}">
                  <a16:creationId xmlns:a16="http://schemas.microsoft.com/office/drawing/2014/main" id="{BAB969C8-05C9-6EE6-FD6E-3F909855E439}"/>
                </a:ext>
              </a:extLst>
            </p:cNvPr>
            <p:cNvSpPr txBox="1"/>
            <p:nvPr/>
          </p:nvSpPr>
          <p:spPr>
            <a:xfrm>
              <a:off x="2483777" y="4111742"/>
              <a:ext cx="1971250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100" b="1" dirty="0">
                  <a:solidFill>
                    <a:srgbClr val="000000"/>
                  </a:solidFill>
                </a:rPr>
                <a:t>BIM_2_1_2-EW-91-MS</a:t>
              </a:r>
              <a:r>
                <a:rPr lang="es-ES" sz="1100" b="1" dirty="0">
                  <a:solidFill>
                    <a:srgbClr val="000000"/>
                  </a:solidFill>
                </a:rPr>
                <a:t>  </a:t>
              </a:r>
            </a:p>
          </p:txBody>
        </p:sp>
        <p:sp>
          <p:nvSpPr>
            <p:cNvPr id="29" name="CuadroTexto 28">
              <a:extLst>
                <a:ext uri="{FF2B5EF4-FFF2-40B4-BE49-F238E27FC236}">
                  <a16:creationId xmlns:a16="http://schemas.microsoft.com/office/drawing/2014/main" id="{C0C18F5F-3A9E-8D04-36F5-F5D5149A5E7A}"/>
                </a:ext>
              </a:extLst>
            </p:cNvPr>
            <p:cNvSpPr txBox="1"/>
            <p:nvPr/>
          </p:nvSpPr>
          <p:spPr>
            <a:xfrm>
              <a:off x="4583323" y="4111150"/>
              <a:ext cx="1971250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100" b="1" dirty="0">
                  <a:solidFill>
                    <a:srgbClr val="000000"/>
                  </a:solidFill>
                </a:rPr>
                <a:t>BIM_2_1_2-EW-93-MC</a:t>
              </a:r>
              <a:endParaRPr lang="es-ES" sz="1100" b="1" dirty="0">
                <a:solidFill>
                  <a:srgbClr val="000000"/>
                </a:solidFill>
              </a:endParaRPr>
            </a:p>
          </p:txBody>
        </p:sp>
        <p:pic>
          <p:nvPicPr>
            <p:cNvPr id="31" name="Content Placeholder 7">
              <a:extLst>
                <a:ext uri="{FF2B5EF4-FFF2-40B4-BE49-F238E27FC236}">
                  <a16:creationId xmlns:a16="http://schemas.microsoft.com/office/drawing/2014/main" id="{730A44C0-4977-C9F3-2099-255A4FB3D6E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9" r="319"/>
            <a:stretch/>
          </p:blipFill>
          <p:spPr>
            <a:xfrm>
              <a:off x="479029" y="1864821"/>
              <a:ext cx="1695537" cy="1280198"/>
            </a:xfrm>
            <a:prstGeom prst="rect">
              <a:avLst/>
            </a:prstGeom>
          </p:spPr>
        </p:pic>
        <p:sp>
          <p:nvSpPr>
            <p:cNvPr id="32" name="CuadroTexto 31">
              <a:extLst>
                <a:ext uri="{FF2B5EF4-FFF2-40B4-BE49-F238E27FC236}">
                  <a16:creationId xmlns:a16="http://schemas.microsoft.com/office/drawing/2014/main" id="{64FDBE7B-7C8F-7BDC-2CF8-2AF57A53AF97}"/>
                </a:ext>
              </a:extLst>
            </p:cNvPr>
            <p:cNvSpPr txBox="1"/>
            <p:nvPr/>
          </p:nvSpPr>
          <p:spPr>
            <a:xfrm>
              <a:off x="282575" y="3226476"/>
              <a:ext cx="2099765" cy="9541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/>
              <a:r>
                <a:rPr lang="es-ES" sz="800" dirty="0">
                  <a:solidFill>
                    <a:srgbClr val="000000"/>
                  </a:solidFill>
                  <a:latin typeface="Calibri" panose="020F0502020204030204" pitchFamily="34" charset="0"/>
                </a:rPr>
                <a:t>Sistema de cubierta vista sobre soporte de hormigón basado en membrana FPO </a:t>
              </a:r>
            </a:p>
            <a:p>
              <a:pPr algn="just"/>
              <a:r>
                <a:rPr lang="es-ES" sz="800" dirty="0" err="1">
                  <a:solidFill>
                    <a:srgbClr val="000000"/>
                  </a:solidFill>
                  <a:latin typeface="Calibri" panose="020F0502020204030204" pitchFamily="34" charset="0"/>
                </a:rPr>
                <a:t>Sarnafil</a:t>
              </a:r>
              <a:r>
                <a:rPr lang="es-ES" sz="800" dirty="0">
                  <a:solidFill>
                    <a:srgbClr val="000000"/>
                  </a:solidFill>
                  <a:latin typeface="Calibri" panose="020F0502020204030204" pitchFamily="34" charset="0"/>
                </a:rPr>
                <a:t>® TS 77 fijada mecánicamente con </a:t>
              </a:r>
              <a:r>
                <a:rPr lang="es-ES" sz="800" dirty="0" err="1">
                  <a:solidFill>
                    <a:srgbClr val="000000"/>
                  </a:solidFill>
                  <a:latin typeface="Calibri" panose="020F0502020204030204" pitchFamily="34" charset="0"/>
                </a:rPr>
                <a:t>Sarnafast</a:t>
              </a:r>
              <a:r>
                <a:rPr lang="es-ES" sz="800" dirty="0">
                  <a:solidFill>
                    <a:srgbClr val="000000"/>
                  </a:solidFill>
                  <a:latin typeface="Calibri" panose="020F0502020204030204" pitchFamily="34" charset="0"/>
                </a:rPr>
                <a:t>® SBF 6,0 mm y </a:t>
              </a:r>
            </a:p>
            <a:p>
              <a:pPr algn="just"/>
              <a:r>
                <a:rPr lang="es-ES" sz="800" dirty="0" err="1">
                  <a:solidFill>
                    <a:srgbClr val="000000"/>
                  </a:solidFill>
                  <a:latin typeface="Calibri" panose="020F0502020204030204" pitchFamily="34" charset="0"/>
                </a:rPr>
                <a:t>Sarnafast</a:t>
              </a:r>
              <a:r>
                <a:rPr lang="es-ES" sz="800" dirty="0">
                  <a:solidFill>
                    <a:srgbClr val="000000"/>
                  </a:solidFill>
                  <a:latin typeface="Calibri" panose="020F0502020204030204" pitchFamily="34" charset="0"/>
                </a:rPr>
                <a:t>® </a:t>
              </a:r>
              <a:r>
                <a:rPr lang="es-ES" sz="800" dirty="0" err="1">
                  <a:solidFill>
                    <a:srgbClr val="000000"/>
                  </a:solidFill>
                  <a:latin typeface="Calibri" panose="020F0502020204030204" pitchFamily="34" charset="0"/>
                </a:rPr>
                <a:t>Washer</a:t>
              </a:r>
              <a:r>
                <a:rPr lang="es-ES" sz="800" dirty="0">
                  <a:solidFill>
                    <a:srgbClr val="000000"/>
                  </a:solidFill>
                  <a:latin typeface="Calibri" panose="020F0502020204030204" pitchFamily="34" charset="0"/>
                </a:rPr>
                <a:t> KTL, barrera de vapor </a:t>
              </a:r>
              <a:r>
                <a:rPr lang="es-ES" sz="800" dirty="0" err="1">
                  <a:solidFill>
                    <a:srgbClr val="000000"/>
                  </a:solidFill>
                  <a:latin typeface="Calibri" panose="020F0502020204030204" pitchFamily="34" charset="0"/>
                </a:rPr>
                <a:t>Sarnavap</a:t>
              </a:r>
              <a:r>
                <a:rPr lang="es-ES" sz="800" dirty="0">
                  <a:solidFill>
                    <a:srgbClr val="000000"/>
                  </a:solidFill>
                  <a:latin typeface="Calibri" panose="020F0502020204030204" pitchFamily="34" charset="0"/>
                </a:rPr>
                <a:t>® 5000 E SA, para instalar junto con aislamiento de lana mineral o PIR</a:t>
              </a:r>
            </a:p>
          </p:txBody>
        </p:sp>
        <p:sp>
          <p:nvSpPr>
            <p:cNvPr id="33" name="Rectangle 56">
              <a:extLst>
                <a:ext uri="{FF2B5EF4-FFF2-40B4-BE49-F238E27FC236}">
                  <a16:creationId xmlns:a16="http://schemas.microsoft.com/office/drawing/2014/main" id="{5CCC23DA-A785-AF65-EF39-CD60653F4F58}"/>
                </a:ext>
              </a:extLst>
            </p:cNvPr>
            <p:cNvSpPr/>
            <p:nvPr/>
          </p:nvSpPr>
          <p:spPr>
            <a:xfrm>
              <a:off x="411090" y="1376823"/>
              <a:ext cx="1971250" cy="35433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100" b="1" dirty="0" err="1">
                  <a:latin typeface="Calibri" panose="020F0502020204030204" pitchFamily="34" charset="0"/>
                </a:rPr>
                <a:t>SikaRoof</a:t>
              </a:r>
              <a:r>
                <a:rPr lang="es-ES" sz="1100" b="1" dirty="0">
                  <a:latin typeface="Calibri" panose="020F0502020204030204" pitchFamily="34" charset="0"/>
                </a:rPr>
                <a:t>® </a:t>
              </a:r>
              <a:r>
                <a:rPr lang="es-ES" sz="1100" b="1" dirty="0" err="1">
                  <a:latin typeface="Calibri" panose="020F0502020204030204" pitchFamily="34" charset="0"/>
                </a:rPr>
                <a:t>Sarnafil</a:t>
              </a:r>
              <a:r>
                <a:rPr lang="es-ES" sz="1100" b="1" dirty="0">
                  <a:latin typeface="Calibri" panose="020F0502020204030204" pitchFamily="34" charset="0"/>
                </a:rPr>
                <a:t>® EW 91 MC</a:t>
              </a:r>
              <a:endParaRPr lang="en-US" sz="1100" b="1" dirty="0">
                <a:latin typeface="Calibri" panose="020F0502020204030204" pitchFamily="34" charset="0"/>
              </a:endParaRPr>
            </a:p>
          </p:txBody>
        </p:sp>
        <p:pic>
          <p:nvPicPr>
            <p:cNvPr id="34" name="Content Placeholder 7">
              <a:extLst>
                <a:ext uri="{FF2B5EF4-FFF2-40B4-BE49-F238E27FC236}">
                  <a16:creationId xmlns:a16="http://schemas.microsoft.com/office/drawing/2014/main" id="{ACBB51B1-963F-2FD0-BEF2-BCBD72CBA79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4" r="334"/>
            <a:stretch/>
          </p:blipFill>
          <p:spPr>
            <a:xfrm>
              <a:off x="2621633" y="1912627"/>
              <a:ext cx="1695537" cy="1280198"/>
            </a:xfrm>
            <a:prstGeom prst="rect">
              <a:avLst/>
            </a:prstGeom>
          </p:spPr>
        </p:pic>
        <p:pic>
          <p:nvPicPr>
            <p:cNvPr id="35" name="Content Placeholder 7">
              <a:extLst>
                <a:ext uri="{FF2B5EF4-FFF2-40B4-BE49-F238E27FC236}">
                  <a16:creationId xmlns:a16="http://schemas.microsoft.com/office/drawing/2014/main" id="{B7F89776-7648-017D-9295-778EE37A099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01" r="2301"/>
            <a:stretch/>
          </p:blipFill>
          <p:spPr>
            <a:xfrm>
              <a:off x="4707748" y="1912627"/>
              <a:ext cx="1695537" cy="128019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590256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7DA9801-0835-4143-95FD-E14093FEC9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141288"/>
            <a:ext cx="8605837" cy="650876"/>
          </a:xfrm>
        </p:spPr>
        <p:txBody>
          <a:bodyPr/>
          <a:lstStyle/>
          <a:p>
            <a:r>
              <a:rPr lang="en-US" dirty="0"/>
              <a:t>Catálogo objetos bim</a:t>
            </a:r>
            <a:br>
              <a:rPr lang="en-US" dirty="0"/>
            </a:br>
            <a:r>
              <a:rPr lang="en-US" sz="1600" dirty="0">
                <a:solidFill>
                  <a:srgbClr val="787878"/>
                </a:solidFill>
              </a:rPr>
              <a:t>sika </a:t>
            </a:r>
            <a:r>
              <a:rPr lang="en-US" sz="1600" dirty="0" err="1">
                <a:solidFill>
                  <a:srgbClr val="787878"/>
                </a:solidFill>
              </a:rPr>
              <a:t>s.a.u</a:t>
            </a:r>
            <a:r>
              <a:rPr lang="en-US" sz="1600" dirty="0">
                <a:solidFill>
                  <a:srgbClr val="787878"/>
                </a:solidFill>
              </a:rPr>
              <a:t>. </a:t>
            </a:r>
            <a:r>
              <a:rPr lang="en-US" sz="1600" dirty="0" err="1">
                <a:solidFill>
                  <a:srgbClr val="787878"/>
                </a:solidFill>
              </a:rPr>
              <a:t>españa</a:t>
            </a:r>
            <a:endParaRPr lang="en-US" dirty="0">
              <a:solidFill>
                <a:srgbClr val="787878"/>
              </a:solidFill>
            </a:endParaRPr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444E32C3-FFC6-41E3-A361-663774D7500E}"/>
              </a:ext>
            </a:extLst>
          </p:cNvPr>
          <p:cNvSpPr txBox="1">
            <a:spLocks/>
          </p:cNvSpPr>
          <p:nvPr/>
        </p:nvSpPr>
        <p:spPr>
          <a:xfrm>
            <a:off x="287338" y="258763"/>
            <a:ext cx="8605837" cy="512762"/>
          </a:xfrm>
          <a:prstGeom prst="rect">
            <a:avLst/>
          </a:prstGeom>
        </p:spPr>
        <p:txBody>
          <a:bodyPr lIns="0" tIns="0" rIns="0" bIns="0" anchor="b"/>
          <a:lstStyle>
            <a:lvl1pPr algn="l" rtl="0" fontAlgn="base">
              <a:spcBef>
                <a:spcPct val="0"/>
              </a:spcBef>
              <a:spcAft>
                <a:spcPts val="763"/>
              </a:spcAft>
              <a:defRPr sz="320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3pPr>
            <a:lvl4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4pPr>
            <a:lvl5pPr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ts val="763"/>
              </a:spcAft>
              <a:defRPr sz="3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lnSpc>
                <a:spcPts val="2400"/>
              </a:lnSpc>
              <a:spcAft>
                <a:spcPts val="768"/>
              </a:spcAft>
              <a:defRPr/>
            </a:pPr>
            <a:endParaRPr lang="de-DE" sz="2400">
              <a:solidFill>
                <a:schemeClr val="accent3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E5F264E-2CAF-4C07-A85D-E09E87C41E19}"/>
              </a:ext>
            </a:extLst>
          </p:cNvPr>
          <p:cNvSpPr/>
          <p:nvPr/>
        </p:nvSpPr>
        <p:spPr>
          <a:xfrm>
            <a:off x="282575" y="924470"/>
            <a:ext cx="8610600" cy="8082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73B6F68-B092-4FDF-BCC0-2500EBD28810}"/>
              </a:ext>
            </a:extLst>
          </p:cNvPr>
          <p:cNvCxnSpPr>
            <a:cxnSpLocks/>
          </p:cNvCxnSpPr>
          <p:nvPr/>
        </p:nvCxnSpPr>
        <p:spPr>
          <a:xfrm>
            <a:off x="473075" y="4448398"/>
            <a:ext cx="822960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id="{46D81B90-49B1-4C90-A06B-94DEFC5BE405}"/>
              </a:ext>
            </a:extLst>
          </p:cNvPr>
          <p:cNvSpPr txBox="1"/>
          <p:nvPr/>
        </p:nvSpPr>
        <p:spPr>
          <a:xfrm>
            <a:off x="282575" y="1043118"/>
            <a:ext cx="8610600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s-ES" sz="2000" b="1" dirty="0" err="1">
                <a:solidFill>
                  <a:schemeClr val="bg1"/>
                </a:solidFill>
              </a:rPr>
              <a:t>Sarnafil</a:t>
            </a:r>
            <a:r>
              <a:rPr lang="es-ES" sz="2000" b="1" dirty="0">
                <a:solidFill>
                  <a:schemeClr val="bg1"/>
                </a:solidFill>
              </a:rPr>
              <a:t>® TS 77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319983B2-A82A-085C-A39A-4B1A8D90CD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4DB64-94C2-4F1B-9FB8-C4899DD18771}" type="slidenum">
              <a:rPr lang="en-US" altLang="de-DE" smtClean="0"/>
              <a:pPr/>
              <a:t>8</a:t>
            </a:fld>
            <a:r>
              <a:rPr lang="en-GB" altLang="de-DE"/>
              <a:t>  </a:t>
            </a:r>
          </a:p>
        </p:txBody>
      </p:sp>
      <p:sp>
        <p:nvSpPr>
          <p:cNvPr id="9" name="Marcador de pie de página 8">
            <a:extLst>
              <a:ext uri="{FF2B5EF4-FFF2-40B4-BE49-F238E27FC236}">
                <a16:creationId xmlns:a16="http://schemas.microsoft.com/office/drawing/2014/main" id="{F994BD5C-94F8-9C5C-D955-A87A0556EF2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49108" y="4767263"/>
            <a:ext cx="7423292" cy="274637"/>
          </a:xfrm>
        </p:spPr>
        <p:txBody>
          <a:bodyPr/>
          <a:lstStyle/>
          <a:p>
            <a:pPr algn="just"/>
            <a:r>
              <a:rPr lang="es-ES" sz="500" cap="all" dirty="0">
                <a:solidFill>
                  <a:srgbClr val="787878"/>
                </a:solidFill>
                <a:latin typeface="+mj-lt"/>
                <a:ea typeface="+mj-ea"/>
                <a:cs typeface="+mj-cs"/>
              </a:rPr>
              <a:t>ESTE DOCUEMNTO ES DE CARÁCTER INFORMATIVO, PUEDE OBTENER INFORMACIÓN MAS DETALLADA CONSULTANDO EL CODIGO SIKA S.A.U. ESPAÑA. - CONSULTE EL SERVICIO TECNICO DE SIKA PREVIAMENTE A LA UTILIZACIÓN DE LOS PRODUCTOS SIKA.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995BC6F4-B009-5C5B-E801-C676A4CA37F6}"/>
              </a:ext>
            </a:extLst>
          </p:cNvPr>
          <p:cNvSpPr txBox="1"/>
          <p:nvPr/>
        </p:nvSpPr>
        <p:spPr>
          <a:xfrm>
            <a:off x="8315773" y="639935"/>
            <a:ext cx="55976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5B325"/>
              </a:buClr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hlinkClick r:id="rId3" action="ppaction://hlinksldjump"/>
              </a:rPr>
              <a:t>ÍNDICE</a:t>
            </a:r>
            <a:endParaRPr kumimoji="0" lang="es-E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40" name="Grupo 39">
            <a:extLst>
              <a:ext uri="{FF2B5EF4-FFF2-40B4-BE49-F238E27FC236}">
                <a16:creationId xmlns:a16="http://schemas.microsoft.com/office/drawing/2014/main" id="{D959F4F1-2B06-2F16-504A-EE54F8E39F0C}"/>
              </a:ext>
            </a:extLst>
          </p:cNvPr>
          <p:cNvGrpSpPr/>
          <p:nvPr/>
        </p:nvGrpSpPr>
        <p:grpSpPr>
          <a:xfrm>
            <a:off x="1210210" y="1377775"/>
            <a:ext cx="6723580" cy="3007655"/>
            <a:chOff x="1359147" y="1370845"/>
            <a:chExt cx="6723580" cy="3007655"/>
          </a:xfrm>
        </p:grpSpPr>
        <p:sp>
          <p:nvSpPr>
            <p:cNvPr id="6" name="Rectangle 58">
              <a:extLst>
                <a:ext uri="{FF2B5EF4-FFF2-40B4-BE49-F238E27FC236}">
                  <a16:creationId xmlns:a16="http://schemas.microsoft.com/office/drawing/2014/main" id="{A73EF02F-8E53-9143-4F54-25515DEDE8EB}"/>
                </a:ext>
              </a:extLst>
            </p:cNvPr>
            <p:cNvSpPr/>
            <p:nvPr/>
          </p:nvSpPr>
          <p:spPr>
            <a:xfrm>
              <a:off x="1368247" y="1382753"/>
              <a:ext cx="2086113" cy="35433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100" b="1" dirty="0" err="1">
                  <a:latin typeface="Calibri" panose="020F0502020204030204" pitchFamily="34" charset="0"/>
                </a:rPr>
                <a:t>SikaRoof</a:t>
              </a:r>
              <a:r>
                <a:rPr lang="es-ES" sz="1100" b="1" dirty="0">
                  <a:latin typeface="Calibri" panose="020F0502020204030204" pitchFamily="34" charset="0"/>
                </a:rPr>
                <a:t>® </a:t>
              </a:r>
              <a:r>
                <a:rPr lang="es-ES" sz="1100" b="1" dirty="0" err="1">
                  <a:latin typeface="Calibri" panose="020F0502020204030204" pitchFamily="34" charset="0"/>
                </a:rPr>
                <a:t>Sarnafil</a:t>
              </a:r>
              <a:r>
                <a:rPr lang="es-ES" sz="1100" b="1" dirty="0">
                  <a:latin typeface="Calibri" panose="020F0502020204030204" pitchFamily="34" charset="0"/>
                </a:rPr>
                <a:t>® EW 93 MS</a:t>
              </a:r>
              <a:endParaRPr lang="en-US" sz="1100" b="1" dirty="0">
                <a:latin typeface="Calibri" panose="020F0502020204030204" pitchFamily="34" charset="0"/>
              </a:endParaRPr>
            </a:p>
          </p:txBody>
        </p:sp>
        <p:sp>
          <p:nvSpPr>
            <p:cNvPr id="7" name="TextBox 84">
              <a:extLst>
                <a:ext uri="{FF2B5EF4-FFF2-40B4-BE49-F238E27FC236}">
                  <a16:creationId xmlns:a16="http://schemas.microsoft.com/office/drawing/2014/main" id="{9EDEE91A-AA7F-7C6C-FB9E-59C56B70D07A}"/>
                </a:ext>
              </a:extLst>
            </p:cNvPr>
            <p:cNvSpPr txBox="1"/>
            <p:nvPr/>
          </p:nvSpPr>
          <p:spPr>
            <a:xfrm>
              <a:off x="1359147" y="3280300"/>
              <a:ext cx="2086113" cy="86177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just"/>
              <a:r>
                <a:rPr lang="es-ES" sz="800" dirty="0">
                  <a:solidFill>
                    <a:srgbClr val="000000"/>
                  </a:solidFill>
                  <a:latin typeface="Calibri" panose="020F0502020204030204" pitchFamily="34" charset="0"/>
                </a:rPr>
                <a:t>Sistema de cubierta vista sobre soporte </a:t>
              </a:r>
            </a:p>
            <a:p>
              <a:pPr algn="just"/>
              <a:r>
                <a:rPr lang="es-ES" sz="800" dirty="0">
                  <a:solidFill>
                    <a:srgbClr val="000000"/>
                  </a:solidFill>
                  <a:latin typeface="Calibri" panose="020F0502020204030204" pitchFamily="34" charset="0"/>
                </a:rPr>
                <a:t>metálico  basado en membrana FPO </a:t>
              </a:r>
            </a:p>
            <a:p>
              <a:pPr algn="just"/>
              <a:r>
                <a:rPr lang="es-ES" sz="800" dirty="0" err="1">
                  <a:solidFill>
                    <a:srgbClr val="000000"/>
                  </a:solidFill>
                  <a:latin typeface="Calibri" panose="020F0502020204030204" pitchFamily="34" charset="0"/>
                </a:rPr>
                <a:t>Sarnafil</a:t>
              </a:r>
              <a:r>
                <a:rPr lang="es-ES" sz="800" dirty="0">
                  <a:solidFill>
                    <a:srgbClr val="000000"/>
                  </a:solidFill>
                  <a:latin typeface="Calibri" panose="020F0502020204030204" pitchFamily="34" charset="0"/>
                </a:rPr>
                <a:t>® TS 77 fijada mecánicamente con </a:t>
              </a:r>
              <a:r>
                <a:rPr lang="es-ES" sz="800" dirty="0" err="1">
                  <a:solidFill>
                    <a:srgbClr val="000000"/>
                  </a:solidFill>
                  <a:latin typeface="Calibri" panose="020F0502020204030204" pitchFamily="34" charset="0"/>
                </a:rPr>
                <a:t>Sarnafast</a:t>
              </a:r>
              <a:r>
                <a:rPr lang="es-ES" sz="800" dirty="0">
                  <a:solidFill>
                    <a:srgbClr val="000000"/>
                  </a:solidFill>
                  <a:latin typeface="Calibri" panose="020F0502020204030204" pitchFamily="34" charset="0"/>
                </a:rPr>
                <a:t>® SBF 4.8 mm y </a:t>
              </a:r>
            </a:p>
            <a:p>
              <a:pPr algn="just"/>
              <a:r>
                <a:rPr lang="es-ES" sz="800" dirty="0" err="1">
                  <a:solidFill>
                    <a:srgbClr val="000000"/>
                  </a:solidFill>
                  <a:latin typeface="Calibri" panose="020F0502020204030204" pitchFamily="34" charset="0"/>
                </a:rPr>
                <a:t>Sarnafast</a:t>
              </a:r>
              <a:r>
                <a:rPr lang="es-ES" sz="800" dirty="0">
                  <a:solidFill>
                    <a:srgbClr val="000000"/>
                  </a:solidFill>
                  <a:latin typeface="Calibri" panose="020F0502020204030204" pitchFamily="34" charset="0"/>
                </a:rPr>
                <a:t>® </a:t>
              </a:r>
              <a:r>
                <a:rPr lang="es-ES" sz="800" dirty="0" err="1">
                  <a:solidFill>
                    <a:srgbClr val="000000"/>
                  </a:solidFill>
                  <a:latin typeface="Calibri" panose="020F0502020204030204" pitchFamily="34" charset="0"/>
                </a:rPr>
                <a:t>Washer</a:t>
              </a:r>
              <a:r>
                <a:rPr lang="es-ES" sz="800" dirty="0">
                  <a:solidFill>
                    <a:srgbClr val="000000"/>
                  </a:solidFill>
                  <a:latin typeface="Calibri" panose="020F0502020204030204" pitchFamily="34" charset="0"/>
                </a:rPr>
                <a:t> KTL, barrera de vapor </a:t>
              </a:r>
              <a:r>
                <a:rPr lang="es-ES" sz="800" dirty="0" err="1">
                  <a:solidFill>
                    <a:srgbClr val="000000"/>
                  </a:solidFill>
                  <a:latin typeface="Calibri" panose="020F0502020204030204" pitchFamily="34" charset="0"/>
                </a:rPr>
                <a:t>Sarnavap</a:t>
              </a:r>
              <a:r>
                <a:rPr lang="es-ES" sz="800" dirty="0">
                  <a:solidFill>
                    <a:srgbClr val="000000"/>
                  </a:solidFill>
                  <a:latin typeface="Calibri" panose="020F0502020204030204" pitchFamily="34" charset="0"/>
                </a:rPr>
                <a:t>® 1000 E, para instalar junto con aislamiento XPS/EPS</a:t>
              </a:r>
              <a:endParaRPr lang="es-ES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8" name="CuadroTexto 7">
              <a:extLst>
                <a:ext uri="{FF2B5EF4-FFF2-40B4-BE49-F238E27FC236}">
                  <a16:creationId xmlns:a16="http://schemas.microsoft.com/office/drawing/2014/main" id="{F640065D-8B4F-626A-8699-7EC0C4B2A5BE}"/>
                </a:ext>
              </a:extLst>
            </p:cNvPr>
            <p:cNvSpPr txBox="1"/>
            <p:nvPr/>
          </p:nvSpPr>
          <p:spPr>
            <a:xfrm>
              <a:off x="1393094" y="4116890"/>
              <a:ext cx="1971249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100" b="1" dirty="0">
                  <a:solidFill>
                    <a:srgbClr val="000000"/>
                  </a:solidFill>
                </a:rPr>
                <a:t>BIM_2_1_2-EW-93-MS</a:t>
              </a:r>
              <a:endParaRPr lang="es-ES" sz="1100" b="1" dirty="0">
                <a:solidFill>
                  <a:srgbClr val="000000"/>
                </a:solidFill>
              </a:endParaRPr>
            </a:p>
          </p:txBody>
        </p:sp>
        <p:pic>
          <p:nvPicPr>
            <p:cNvPr id="10" name="Content Placeholder 7">
              <a:extLst>
                <a:ext uri="{FF2B5EF4-FFF2-40B4-BE49-F238E27FC236}">
                  <a16:creationId xmlns:a16="http://schemas.microsoft.com/office/drawing/2014/main" id="{7D921236-074A-0A0F-AA9E-019E4AE5FC1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555" b="2555"/>
            <a:stretch/>
          </p:blipFill>
          <p:spPr>
            <a:xfrm>
              <a:off x="1554434" y="1912765"/>
              <a:ext cx="1695537" cy="1280198"/>
            </a:xfrm>
            <a:prstGeom prst="rect">
              <a:avLst/>
            </a:prstGeom>
          </p:spPr>
        </p:pic>
        <p:cxnSp>
          <p:nvCxnSpPr>
            <p:cNvPr id="11" name="Straight Connector 60">
              <a:extLst>
                <a:ext uri="{FF2B5EF4-FFF2-40B4-BE49-F238E27FC236}">
                  <a16:creationId xmlns:a16="http://schemas.microsoft.com/office/drawing/2014/main" id="{CD7F9A46-4C9D-6C22-45BD-1CACA9C22BF9}"/>
                </a:ext>
              </a:extLst>
            </p:cNvPr>
            <p:cNvCxnSpPr/>
            <p:nvPr/>
          </p:nvCxnSpPr>
          <p:spPr>
            <a:xfrm>
              <a:off x="3562773" y="1382753"/>
              <a:ext cx="0" cy="2990846"/>
            </a:xfrm>
            <a:prstGeom prst="line">
              <a:avLst/>
            </a:prstGeom>
            <a:ln w="635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Rectangle 58">
              <a:extLst>
                <a:ext uri="{FF2B5EF4-FFF2-40B4-BE49-F238E27FC236}">
                  <a16:creationId xmlns:a16="http://schemas.microsoft.com/office/drawing/2014/main" id="{8FA04476-C150-3867-6538-133F0D0FA548}"/>
                </a:ext>
              </a:extLst>
            </p:cNvPr>
            <p:cNvSpPr/>
            <p:nvPr/>
          </p:nvSpPr>
          <p:spPr>
            <a:xfrm>
              <a:off x="3680287" y="1378398"/>
              <a:ext cx="2086113" cy="35433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100" b="1" dirty="0" err="1">
                  <a:latin typeface="Calibri" panose="020F0502020204030204" pitchFamily="34" charset="0"/>
                </a:rPr>
                <a:t>SikaRoof</a:t>
              </a:r>
              <a:r>
                <a:rPr lang="es-ES" sz="1100" b="1" dirty="0">
                  <a:latin typeface="Calibri" panose="020F0502020204030204" pitchFamily="34" charset="0"/>
                </a:rPr>
                <a:t>® </a:t>
              </a:r>
              <a:r>
                <a:rPr lang="es-ES" sz="1100" b="1" dirty="0" err="1">
                  <a:latin typeface="Calibri" panose="020F0502020204030204" pitchFamily="34" charset="0"/>
                </a:rPr>
                <a:t>Sarnafil</a:t>
              </a:r>
              <a:r>
                <a:rPr lang="es-ES" sz="1100" b="1" dirty="0">
                  <a:latin typeface="Calibri" panose="020F0502020204030204" pitchFamily="34" charset="0"/>
                </a:rPr>
                <a:t>® EWP 91 MC</a:t>
              </a:r>
              <a:endParaRPr lang="en-US" sz="1100" b="1" dirty="0">
                <a:latin typeface="Calibri" panose="020F0502020204030204" pitchFamily="34" charset="0"/>
              </a:endParaRPr>
            </a:p>
          </p:txBody>
        </p:sp>
        <p:cxnSp>
          <p:nvCxnSpPr>
            <p:cNvPr id="13" name="Straight Connector 60">
              <a:extLst>
                <a:ext uri="{FF2B5EF4-FFF2-40B4-BE49-F238E27FC236}">
                  <a16:creationId xmlns:a16="http://schemas.microsoft.com/office/drawing/2014/main" id="{6B2A3D9E-F0AB-C9D2-F190-FBBAEEC8C423}"/>
                </a:ext>
              </a:extLst>
            </p:cNvPr>
            <p:cNvCxnSpPr/>
            <p:nvPr/>
          </p:nvCxnSpPr>
          <p:spPr>
            <a:xfrm>
              <a:off x="5882642" y="1378398"/>
              <a:ext cx="0" cy="2990846"/>
            </a:xfrm>
            <a:prstGeom prst="line">
              <a:avLst/>
            </a:prstGeom>
            <a:ln w="635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58">
              <a:extLst>
                <a:ext uri="{FF2B5EF4-FFF2-40B4-BE49-F238E27FC236}">
                  <a16:creationId xmlns:a16="http://schemas.microsoft.com/office/drawing/2014/main" id="{EB00DDC5-4D27-863A-4F50-911F2DA1DAE9}"/>
                </a:ext>
              </a:extLst>
            </p:cNvPr>
            <p:cNvSpPr/>
            <p:nvPr/>
          </p:nvSpPr>
          <p:spPr>
            <a:xfrm>
              <a:off x="5992327" y="1370845"/>
              <a:ext cx="2086113" cy="35433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100" b="1" dirty="0" err="1">
                  <a:latin typeface="Calibri" panose="020F0502020204030204" pitchFamily="34" charset="0"/>
                </a:rPr>
                <a:t>SikaRoof</a:t>
              </a:r>
              <a:r>
                <a:rPr lang="es-ES" sz="1100" b="1" dirty="0">
                  <a:latin typeface="Calibri" panose="020F0502020204030204" pitchFamily="34" charset="0"/>
                </a:rPr>
                <a:t>® </a:t>
              </a:r>
              <a:r>
                <a:rPr lang="es-ES" sz="1100" b="1" dirty="0" err="1">
                  <a:latin typeface="Calibri" panose="020F0502020204030204" pitchFamily="34" charset="0"/>
                </a:rPr>
                <a:t>Sarnafil</a:t>
              </a:r>
              <a:r>
                <a:rPr lang="es-ES" sz="1100" b="1" dirty="0">
                  <a:latin typeface="Calibri" panose="020F0502020204030204" pitchFamily="34" charset="0"/>
                </a:rPr>
                <a:t>® EWP 91 MS</a:t>
              </a:r>
              <a:endParaRPr lang="en-US" sz="1100" b="1" dirty="0">
                <a:latin typeface="Calibri" panose="020F0502020204030204" pitchFamily="34" charset="0"/>
              </a:endParaRPr>
            </a:p>
          </p:txBody>
        </p:sp>
        <p:sp>
          <p:nvSpPr>
            <p:cNvPr id="25" name="TextBox 84">
              <a:extLst>
                <a:ext uri="{FF2B5EF4-FFF2-40B4-BE49-F238E27FC236}">
                  <a16:creationId xmlns:a16="http://schemas.microsoft.com/office/drawing/2014/main" id="{CE249113-0CA4-94C8-8E91-A8D715BDF35A}"/>
                </a:ext>
              </a:extLst>
            </p:cNvPr>
            <p:cNvSpPr txBox="1"/>
            <p:nvPr/>
          </p:nvSpPr>
          <p:spPr>
            <a:xfrm>
              <a:off x="3686845" y="3280300"/>
              <a:ext cx="2086113" cy="73866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just"/>
              <a:r>
                <a:rPr lang="es-ES" sz="800" dirty="0">
                  <a:solidFill>
                    <a:srgbClr val="000000"/>
                  </a:solidFill>
                </a:rPr>
                <a:t>Sistema de cubierta vista sobre soporte de hormigón basado en membrana FPO </a:t>
              </a:r>
            </a:p>
            <a:p>
              <a:pPr algn="just"/>
              <a:r>
                <a:rPr lang="es-ES" sz="800" dirty="0" err="1">
                  <a:solidFill>
                    <a:srgbClr val="000000"/>
                  </a:solidFill>
                </a:rPr>
                <a:t>Sarnafil</a:t>
              </a:r>
              <a:r>
                <a:rPr lang="es-ES" sz="800" dirty="0">
                  <a:solidFill>
                    <a:srgbClr val="000000"/>
                  </a:solidFill>
                </a:rPr>
                <a:t>® TS 77 fijada mecánicamente con </a:t>
              </a:r>
              <a:r>
                <a:rPr lang="es-ES" sz="800" dirty="0" err="1">
                  <a:solidFill>
                    <a:srgbClr val="000000"/>
                  </a:solidFill>
                </a:rPr>
                <a:t>Sarnafast</a:t>
              </a:r>
              <a:r>
                <a:rPr lang="es-ES" sz="800" dirty="0">
                  <a:solidFill>
                    <a:srgbClr val="000000"/>
                  </a:solidFill>
                </a:rPr>
                <a:t>® SBF 6,0 mm y </a:t>
              </a:r>
              <a:r>
                <a:rPr lang="es-ES" sz="800" dirty="0" err="1">
                  <a:solidFill>
                    <a:srgbClr val="000000"/>
                  </a:solidFill>
                </a:rPr>
                <a:t>Sarnafast</a:t>
              </a:r>
              <a:r>
                <a:rPr lang="es-ES" sz="800" dirty="0">
                  <a:solidFill>
                    <a:srgbClr val="000000"/>
                  </a:solidFill>
                </a:rPr>
                <a:t>® </a:t>
              </a:r>
              <a:r>
                <a:rPr lang="es-ES" sz="800" dirty="0" err="1">
                  <a:solidFill>
                    <a:srgbClr val="000000"/>
                  </a:solidFill>
                </a:rPr>
                <a:t>Washer</a:t>
              </a:r>
              <a:r>
                <a:rPr lang="es-ES" sz="800" dirty="0">
                  <a:solidFill>
                    <a:srgbClr val="000000"/>
                  </a:solidFill>
                </a:rPr>
                <a:t> KTL, barrera de vapor </a:t>
              </a:r>
              <a:r>
                <a:rPr lang="es-ES" sz="800" dirty="0" err="1">
                  <a:solidFill>
                    <a:srgbClr val="000000"/>
                  </a:solidFill>
                </a:rPr>
                <a:t>Sarnavap</a:t>
              </a:r>
              <a:r>
                <a:rPr lang="es-ES" sz="800" dirty="0">
                  <a:solidFill>
                    <a:srgbClr val="000000"/>
                  </a:solidFill>
                </a:rPr>
                <a:t>® 5000 E SA y aislamiento </a:t>
              </a:r>
              <a:r>
                <a:rPr lang="es-ES" sz="800" dirty="0" err="1">
                  <a:solidFill>
                    <a:srgbClr val="000000"/>
                  </a:solidFill>
                </a:rPr>
                <a:t>Sikatherm</a:t>
              </a:r>
              <a:r>
                <a:rPr lang="es-ES" sz="800" dirty="0">
                  <a:solidFill>
                    <a:srgbClr val="000000"/>
                  </a:solidFill>
                </a:rPr>
                <a:t>® / </a:t>
              </a:r>
              <a:r>
                <a:rPr lang="es-ES" sz="800" dirty="0" err="1">
                  <a:solidFill>
                    <a:srgbClr val="000000"/>
                  </a:solidFill>
                </a:rPr>
                <a:t>Sarnatherm</a:t>
              </a:r>
              <a:r>
                <a:rPr lang="es-ES" sz="800" dirty="0">
                  <a:solidFill>
                    <a:srgbClr val="000000"/>
                  </a:solidFill>
                </a:rPr>
                <a:t> ® PIR</a:t>
              </a:r>
            </a:p>
          </p:txBody>
        </p:sp>
        <p:sp>
          <p:nvSpPr>
            <p:cNvPr id="26" name="CuadroTexto 25">
              <a:extLst>
                <a:ext uri="{FF2B5EF4-FFF2-40B4-BE49-F238E27FC236}">
                  <a16:creationId xmlns:a16="http://schemas.microsoft.com/office/drawing/2014/main" id="{F3AAEB41-15BE-F730-F991-ADA9EAB1F0D3}"/>
                </a:ext>
              </a:extLst>
            </p:cNvPr>
            <p:cNvSpPr txBox="1"/>
            <p:nvPr/>
          </p:nvSpPr>
          <p:spPr>
            <a:xfrm>
              <a:off x="3720792" y="4116890"/>
              <a:ext cx="1971249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100" b="1" dirty="0">
                  <a:solidFill>
                    <a:srgbClr val="000000"/>
                  </a:solidFill>
                </a:rPr>
                <a:t>BIM_2_1_2-EWP-91-MC</a:t>
              </a:r>
              <a:endParaRPr lang="es-ES" sz="1100" b="1" dirty="0">
                <a:solidFill>
                  <a:srgbClr val="000000"/>
                </a:solidFill>
              </a:endParaRPr>
            </a:p>
          </p:txBody>
        </p:sp>
        <p:pic>
          <p:nvPicPr>
            <p:cNvPr id="36" name="Content Placeholder 7">
              <a:extLst>
                <a:ext uri="{FF2B5EF4-FFF2-40B4-BE49-F238E27FC236}">
                  <a16:creationId xmlns:a16="http://schemas.microsoft.com/office/drawing/2014/main" id="{B7572CB2-8314-1691-6B99-72C2A297C32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9" r="339"/>
            <a:stretch/>
          </p:blipFill>
          <p:spPr>
            <a:xfrm>
              <a:off x="3882132" y="1912765"/>
              <a:ext cx="1695537" cy="1280198"/>
            </a:xfrm>
            <a:prstGeom prst="rect">
              <a:avLst/>
            </a:prstGeom>
          </p:spPr>
        </p:pic>
        <p:sp>
          <p:nvSpPr>
            <p:cNvPr id="37" name="TextBox 84">
              <a:extLst>
                <a:ext uri="{FF2B5EF4-FFF2-40B4-BE49-F238E27FC236}">
                  <a16:creationId xmlns:a16="http://schemas.microsoft.com/office/drawing/2014/main" id="{495CE9DC-BA3A-774C-7E94-4F79EE44DDFD}"/>
                </a:ext>
              </a:extLst>
            </p:cNvPr>
            <p:cNvSpPr txBox="1"/>
            <p:nvPr/>
          </p:nvSpPr>
          <p:spPr>
            <a:xfrm>
              <a:off x="5996614" y="3280300"/>
              <a:ext cx="2086113" cy="73866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just"/>
              <a:r>
                <a:rPr lang="es-ES" sz="800" dirty="0">
                  <a:solidFill>
                    <a:srgbClr val="000000"/>
                  </a:solidFill>
                </a:rPr>
                <a:t>Sistema de cubierta vista sobre soporte </a:t>
              </a:r>
            </a:p>
            <a:p>
              <a:pPr algn="just"/>
              <a:r>
                <a:rPr lang="es-ES" sz="800" dirty="0">
                  <a:solidFill>
                    <a:srgbClr val="000000"/>
                  </a:solidFill>
                </a:rPr>
                <a:t>metálico basado en membrana FPO</a:t>
              </a:r>
            </a:p>
            <a:p>
              <a:pPr algn="just"/>
              <a:r>
                <a:rPr lang="es-ES" sz="800" dirty="0">
                  <a:solidFill>
                    <a:srgbClr val="000000"/>
                  </a:solidFill>
                </a:rPr>
                <a:t> </a:t>
              </a:r>
              <a:r>
                <a:rPr lang="es-ES" sz="800" dirty="0" err="1">
                  <a:solidFill>
                    <a:srgbClr val="000000"/>
                  </a:solidFill>
                </a:rPr>
                <a:t>Sarnafil</a:t>
              </a:r>
              <a:r>
                <a:rPr lang="es-ES" sz="800" dirty="0">
                  <a:solidFill>
                    <a:srgbClr val="000000"/>
                  </a:solidFill>
                </a:rPr>
                <a:t>® TS 77 fijada mecánicamente con </a:t>
              </a:r>
              <a:r>
                <a:rPr lang="es-ES" sz="800" dirty="0" err="1">
                  <a:solidFill>
                    <a:srgbClr val="000000"/>
                  </a:solidFill>
                </a:rPr>
                <a:t>Sarnafast</a:t>
              </a:r>
              <a:r>
                <a:rPr lang="es-ES" sz="800" dirty="0">
                  <a:solidFill>
                    <a:srgbClr val="000000"/>
                  </a:solidFill>
                </a:rPr>
                <a:t>® SF 4.8 mm y </a:t>
              </a:r>
              <a:r>
                <a:rPr lang="es-ES" sz="800" dirty="0" err="1">
                  <a:solidFill>
                    <a:srgbClr val="000000"/>
                  </a:solidFill>
                </a:rPr>
                <a:t>Sarnafast</a:t>
              </a:r>
              <a:r>
                <a:rPr lang="es-ES" sz="800" dirty="0">
                  <a:solidFill>
                    <a:srgbClr val="000000"/>
                  </a:solidFill>
                </a:rPr>
                <a:t>® </a:t>
              </a:r>
              <a:r>
                <a:rPr lang="es-ES" sz="800" dirty="0" err="1">
                  <a:solidFill>
                    <a:srgbClr val="000000"/>
                  </a:solidFill>
                </a:rPr>
                <a:t>Washer</a:t>
              </a:r>
              <a:r>
                <a:rPr lang="es-ES" sz="800" dirty="0">
                  <a:solidFill>
                    <a:srgbClr val="000000"/>
                  </a:solidFill>
                </a:rPr>
                <a:t> KT, barrera de vapor </a:t>
              </a:r>
              <a:r>
                <a:rPr lang="es-ES" sz="800" dirty="0" err="1">
                  <a:solidFill>
                    <a:srgbClr val="000000"/>
                  </a:solidFill>
                </a:rPr>
                <a:t>Sarnavap</a:t>
              </a:r>
              <a:r>
                <a:rPr lang="es-ES" sz="800" dirty="0">
                  <a:solidFill>
                    <a:srgbClr val="000000"/>
                  </a:solidFill>
                </a:rPr>
                <a:t>® 1000 E y aislamiento </a:t>
              </a:r>
              <a:r>
                <a:rPr lang="es-ES" sz="800" dirty="0" err="1">
                  <a:solidFill>
                    <a:srgbClr val="000000"/>
                  </a:solidFill>
                </a:rPr>
                <a:t>Sikatherm</a:t>
              </a:r>
              <a:r>
                <a:rPr lang="es-ES" sz="800" dirty="0">
                  <a:solidFill>
                    <a:srgbClr val="000000"/>
                  </a:solidFill>
                </a:rPr>
                <a:t>® / </a:t>
              </a:r>
              <a:r>
                <a:rPr lang="es-ES" sz="800" dirty="0" err="1">
                  <a:solidFill>
                    <a:srgbClr val="000000"/>
                  </a:solidFill>
                </a:rPr>
                <a:t>Sarnatherm</a:t>
              </a:r>
              <a:r>
                <a:rPr lang="es-ES" sz="800" dirty="0">
                  <a:solidFill>
                    <a:srgbClr val="000000"/>
                  </a:solidFill>
                </a:rPr>
                <a:t> ® PIR</a:t>
              </a:r>
            </a:p>
          </p:txBody>
        </p:sp>
        <p:sp>
          <p:nvSpPr>
            <p:cNvPr id="38" name="CuadroTexto 37">
              <a:extLst>
                <a:ext uri="{FF2B5EF4-FFF2-40B4-BE49-F238E27FC236}">
                  <a16:creationId xmlns:a16="http://schemas.microsoft.com/office/drawing/2014/main" id="{D30C3901-EE34-99D2-BE0B-73BB944C6C27}"/>
                </a:ext>
              </a:extLst>
            </p:cNvPr>
            <p:cNvSpPr txBox="1"/>
            <p:nvPr/>
          </p:nvSpPr>
          <p:spPr>
            <a:xfrm>
              <a:off x="6030561" y="4116890"/>
              <a:ext cx="1971249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100" b="1" dirty="0">
                  <a:solidFill>
                    <a:srgbClr val="000000"/>
                  </a:solidFill>
                </a:rPr>
                <a:t>BIM_2_1_2-EWP-91-MS</a:t>
              </a:r>
              <a:endParaRPr lang="es-ES" sz="1100" b="1" dirty="0">
                <a:solidFill>
                  <a:srgbClr val="000000"/>
                </a:solidFill>
              </a:endParaRPr>
            </a:p>
          </p:txBody>
        </p:sp>
        <p:pic>
          <p:nvPicPr>
            <p:cNvPr id="39" name="Content Placeholder 7">
              <a:extLst>
                <a:ext uri="{FF2B5EF4-FFF2-40B4-BE49-F238E27FC236}">
                  <a16:creationId xmlns:a16="http://schemas.microsoft.com/office/drawing/2014/main" id="{9A490862-79BD-DF10-1B3A-F2368C1A796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9" r="339"/>
            <a:stretch/>
          </p:blipFill>
          <p:spPr>
            <a:xfrm>
              <a:off x="6191901" y="1912765"/>
              <a:ext cx="1695537" cy="128019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210157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CE3648-8753-4528-81B2-38C8DA48DA6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9521" y="224461"/>
            <a:ext cx="8604956" cy="310632"/>
          </a:xfrm>
        </p:spPr>
        <p:txBody>
          <a:bodyPr/>
          <a:lstStyle/>
          <a:p>
            <a:r>
              <a:rPr lang="en-US" sz="2400" dirty="0"/>
              <a:t>Catálogo objetos bim</a:t>
            </a:r>
            <a:endParaRPr lang="de-CH" sz="4000" dirty="0"/>
          </a:p>
        </p:txBody>
      </p:sp>
      <p:sp>
        <p:nvSpPr>
          <p:cNvPr id="4" name="Textplatzhalter 2">
            <a:extLst>
              <a:ext uri="{FF2B5EF4-FFF2-40B4-BE49-F238E27FC236}">
                <a16:creationId xmlns:a16="http://schemas.microsoft.com/office/drawing/2014/main" id="{D700072D-455F-4E99-810C-E17DD49CC238}"/>
              </a:ext>
            </a:extLst>
          </p:cNvPr>
          <p:cNvSpPr txBox="1">
            <a:spLocks/>
          </p:cNvSpPr>
          <p:nvPr/>
        </p:nvSpPr>
        <p:spPr>
          <a:xfrm>
            <a:off x="250639" y="2678318"/>
            <a:ext cx="8605837" cy="1349375"/>
          </a:xfrm>
          <a:prstGeom prst="rect">
            <a:avLst/>
          </a:prstGeom>
        </p:spPr>
        <p:txBody>
          <a:bodyPr rtlCol="0"/>
          <a:lstStyle>
            <a:lvl1pPr marL="269875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18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9500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1913" indent="-2698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12900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2775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51063" indent="-268288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20938" indent="-269875" algn="l" defTabSz="914400" rtl="0" eaLnBrk="1" latinLnBrk="0" hangingPunct="1">
              <a:spcBef>
                <a:spcPts val="432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GB"/>
          </a:p>
          <a:p>
            <a:pPr fontAlgn="auto">
              <a:spcAft>
                <a:spcPts val="0"/>
              </a:spcAft>
              <a:buFont typeface="Arial" charset="0"/>
              <a:buNone/>
              <a:defRPr/>
            </a:pPr>
            <a:endParaRPr lang="en-US">
              <a:ea typeface="ＭＳ Ｐゴシック" charset="0"/>
            </a:endParaRPr>
          </a:p>
        </p:txBody>
      </p:sp>
      <p:pic>
        <p:nvPicPr>
          <p:cNvPr id="5" name="Imagen 4" descr="Imagen que contiene pasto, exterior, edificio, campo&#10;&#10;Descripción generada automáticamente">
            <a:extLst>
              <a:ext uri="{FF2B5EF4-FFF2-40B4-BE49-F238E27FC236}">
                <a16:creationId xmlns:a16="http://schemas.microsoft.com/office/drawing/2014/main" id="{849B1DB3-ABE2-41EB-2AAD-57F4844462A0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3">
            <a:alphaModFix amt="8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639" y="880229"/>
            <a:ext cx="5554270" cy="3994554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12A55244-6BBD-3CC0-ACDF-47D4610B081F}"/>
              </a:ext>
            </a:extLst>
          </p:cNvPr>
          <p:cNvSpPr txBox="1"/>
          <p:nvPr/>
        </p:nvSpPr>
        <p:spPr>
          <a:xfrm>
            <a:off x="176679" y="468793"/>
            <a:ext cx="86238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Clr>
                <a:schemeClr val="accent1"/>
              </a:buClr>
            </a:pPr>
            <a:r>
              <a:rPr lang="es-ES" sz="1600" dirty="0"/>
              <a:t>SIKA S.A.U. ESPAÑA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B3201A4C-4FF8-B1E9-4152-31100A6505D0}"/>
              </a:ext>
            </a:extLst>
          </p:cNvPr>
          <p:cNvSpPr txBox="1"/>
          <p:nvPr/>
        </p:nvSpPr>
        <p:spPr>
          <a:xfrm>
            <a:off x="5912662" y="880229"/>
            <a:ext cx="2858521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ES" sz="1400"/>
              <a:t>Para cualquier duda o aclaración puede contactar con: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ES" sz="1400" b="1"/>
              <a:t>digitalizacion@es.sika.com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ES" sz="1400"/>
              <a:t>Dpto. Técnico - Digitalización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s-ES" sz="1400" i="0">
                <a:solidFill>
                  <a:srgbClr val="000000"/>
                </a:solidFill>
                <a:effectLst/>
                <a:latin typeface="Klavika Light"/>
              </a:rPr>
              <a:t>MADRID - 28108 Alcobendas</a:t>
            </a:r>
            <a:br>
              <a:rPr lang="es-ES" sz="1400"/>
            </a:br>
            <a:r>
              <a:rPr lang="es-ES" sz="1400" i="0">
                <a:solidFill>
                  <a:srgbClr val="000000"/>
                </a:solidFill>
                <a:effectLst/>
                <a:latin typeface="Klavika Light"/>
              </a:rPr>
              <a:t>Calle Aragoneses 17</a:t>
            </a:r>
            <a:br>
              <a:rPr lang="es-ES" sz="1400"/>
            </a:br>
            <a:r>
              <a:rPr lang="es-ES" sz="1400" i="0">
                <a:solidFill>
                  <a:srgbClr val="000000"/>
                </a:solidFill>
                <a:effectLst/>
                <a:latin typeface="Klavika Light"/>
              </a:rPr>
              <a:t>Tel. </a:t>
            </a:r>
            <a:r>
              <a:rPr lang="es-ES" sz="1400">
                <a:solidFill>
                  <a:srgbClr val="000000"/>
                </a:solidFill>
                <a:latin typeface="Klavika Light"/>
              </a:rPr>
              <a:t>916 57 23 75</a:t>
            </a:r>
            <a:endParaRPr lang="es-ES" sz="1400"/>
          </a:p>
        </p:txBody>
      </p:sp>
    </p:spTree>
    <p:extLst>
      <p:ext uri="{BB962C8B-B14F-4D97-AF65-F5344CB8AC3E}">
        <p14:creationId xmlns:p14="http://schemas.microsoft.com/office/powerpoint/2010/main" val="77166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8.0&quot;&gt;&lt;object type=&quot;1&quot; unique_id=&quot;10001&quot;&gt;&lt;object type=&quot;2&quot; unique_id=&quot;22003&quot;&gt;&lt;object type=&quot;3&quot; unique_id=&quot;22004&quot;&gt;&lt;property id=&quot;20148&quot; value=&quot;5&quot;/&gt;&lt;property id=&quot;20300&quot; value=&quot;Slide 1&quot;/&gt;&lt;property id=&quot;20307&quot; value=&quot;282&quot;/&gt;&lt;/object&gt;&lt;object type=&quot;3&quot; unique_id=&quot;22005&quot;&gt;&lt;property id=&quot;20148&quot; value=&quot;5&quot;/&gt;&lt;property id=&quot;20300&quot; value=&quot;Slide 2&quot;/&gt;&lt;property id=&quot;20307&quot; value=&quot;303&quot;/&gt;&lt;/object&gt;&lt;object type=&quot;3&quot; unique_id=&quot;22006&quot;&gt;&lt;property id=&quot;20148&quot; value=&quot;5&quot;/&gt;&lt;property id=&quot;20300&quot; value=&quot;Slide 3&quot;/&gt;&lt;property id=&quot;20307&quot; value=&quot;283&quot;/&gt;&lt;/object&gt;&lt;object type=&quot;3&quot; unique_id=&quot;22007&quot;&gt;&lt;property id=&quot;20148&quot; value=&quot;5&quot;/&gt;&lt;property id=&quot;20300&quot; value=&quot;Slide 4&quot;/&gt;&lt;property id=&quot;20307&quot; value=&quot;304&quot;/&gt;&lt;/object&gt;&lt;object type=&quot;3&quot; unique_id=&quot;22008&quot;&gt;&lt;property id=&quot;20148&quot; value=&quot;5&quot;/&gt;&lt;property id=&quot;20300&quot; value=&quot;Slide 5&quot;/&gt;&lt;property id=&quot;20307&quot; value=&quot;284&quot;/&gt;&lt;/object&gt;&lt;object type=&quot;3&quot; unique_id=&quot;22009&quot;&gt;&lt;property id=&quot;20148&quot; value=&quot;5&quot;/&gt;&lt;property id=&quot;20300&quot; value=&quot;Slide 6&quot;/&gt;&lt;property id=&quot;20307&quot; value=&quot;305&quot;/&gt;&lt;/object&gt;&lt;object type=&quot;3&quot; unique_id=&quot;22010&quot;&gt;&lt;property id=&quot;20148&quot; value=&quot;5&quot;/&gt;&lt;property id=&quot;20300&quot; value=&quot;Slide 7 - &amp;quot;Table of contents&amp;quot;&quot;/&gt;&lt;property id=&quot;20307&quot; value=&quot;259&quot;/&gt;&lt;/object&gt;&lt;object type=&quot;3&quot; unique_id=&quot;22011&quot;&gt;&lt;property id=&quot;20148&quot; value=&quot;5&quot;/&gt;&lt;property id=&quot;20300&quot; value=&quot;Slide 8 - &amp;quot;Design GRID&amp;quot;&quot;/&gt;&lt;property id=&quot;20307&quot; value=&quot;310&quot;/&gt;&lt;/object&gt;&lt;object type=&quot;3&quot; unique_id=&quot;22012&quot;&gt;&lt;property id=&quot;20148&quot; value=&quot;5&quot;/&gt;&lt;property id=&quot;20300&quot; value=&quot;Slide 9 - &amp;quot;Basic elements - colors&amp;quot;&quot;/&gt;&lt;property id=&quot;20307&quot; value=&quot;261&quot;/&gt;&lt;/object&gt;&lt;object type=&quot;3&quot; unique_id=&quot;22013&quot;&gt;&lt;property id=&quot;20148&quot; value=&quot;5&quot;/&gt;&lt;property id=&quot;20300&quot; value=&quot;Slide 10 - &amp;quot;Basic elements - lines, arrows and shapes&amp;quot;&quot;/&gt;&lt;property id=&quot;20307&quot; value=&quot;262&quot;/&gt;&lt;/object&gt;&lt;object type=&quot;3&quot; unique_id=&quot;22014&quot;&gt;&lt;property id=&quot;20148&quot; value=&quot;5&quot;/&gt;&lt;property id=&quot;20300&quot; value=&quot;Slide 11&quot;/&gt;&lt;property id=&quot;20307&quot; value=&quot;263&quot;/&gt;&lt;/object&gt;&lt;object type=&quot;3&quot; unique_id=&quot;22015&quot;&gt;&lt;property id=&quot;20148&quot; value=&quot;5&quot;/&gt;&lt;property id=&quot;20300&quot; value=&quot;Slide 12&quot;/&gt;&lt;property id=&quot;20307&quot; value=&quot;306&quot;/&gt;&lt;/object&gt;&lt;object type=&quot;3&quot; unique_id=&quot;22016&quot;&gt;&lt;property id=&quot;20148&quot; value=&quot;5&quot;/&gt;&lt;property id=&quot;20300&quot; value=&quot;Slide 13&quot;/&gt;&lt;property id=&quot;20307&quot; value=&quot;264&quot;/&gt;&lt;/object&gt;&lt;object type=&quot;3&quot; unique_id=&quot;22017&quot;&gt;&lt;property id=&quot;20148&quot; value=&quot;5&quot;/&gt;&lt;property id=&quot;20300&quot; value=&quot;Slide 14 - &amp;quot;Example - headline (24pt)&amp;quot;&quot;/&gt;&lt;property id=&quot;20307&quot; value=&quot;265&quot;/&gt;&lt;/object&gt;&lt;object type=&quot;3&quot; unique_id=&quot;22018&quot;&gt;&lt;property id=&quot;20148&quot; value=&quot;5&quot;/&gt;&lt;property id=&quot;20300&quot; value=&quot;Slide 15 - &amp;quot;example - listing (one text field)&amp;quot;&quot;/&gt;&lt;property id=&quot;20307&quot; value=&quot;266&quot;/&gt;&lt;/object&gt;&lt;object type=&quot;3&quot; unique_id=&quot;22019&quot;&gt;&lt;property id=&quot;20148&quot; value=&quot;5&quot;/&gt;&lt;property id=&quot;20300&quot; value=&quot;Slide 16 - &amp;quot;Example - listing (two text fields)&amp;quot;&quot;/&gt;&lt;property id=&quot;20307&quot; value=&quot;312&quot;/&gt;&lt;/object&gt;&lt;object type=&quot;3&quot; unique_id=&quot;22020&quot;&gt;&lt;property id=&quot;20148&quot; value=&quot;5&quot;/&gt;&lt;property id=&quot;20300&quot; value=&quot;Slide 17 - &amp;quot;Example - (two text fields with pictures)&amp;quot;&quot;/&gt;&lt;property id=&quot;20307&quot; value=&quot;313&quot;/&gt;&lt;/object&gt;&lt;object type=&quot;3&quot; unique_id=&quot;22021&quot;&gt;&lt;property id=&quot;20148&quot; value=&quot;5&quot;/&gt;&lt;property id=&quot;20300&quot; value=&quot;Slide 18 - &amp;quot;Example - table on white background&amp;quot;&quot;/&gt;&lt;property id=&quot;20307&quot; value=&quot;269&quot;/&gt;&lt;/object&gt;&lt;object type=&quot;3&quot; unique_id=&quot;22022&quot;&gt;&lt;property id=&quot;20148&quot; value=&quot;5&quot;/&gt;&lt;property id=&quot;20300&quot; value=&quot;Slide 19 - &amp;quot;Example - line diagram&amp;quot;&quot;/&gt;&lt;property id=&quot;20307&quot; value=&quot;292&quot;/&gt;&lt;/object&gt;&lt;object type=&quot;3&quot; unique_id=&quot;22023&quot;&gt;&lt;property id=&quot;20148&quot; value=&quot;5&quot;/&gt;&lt;property id=&quot;20300&quot; value=&quot;Slide 20 - &amp;quot;Example - column diagram (grouped)&amp;quot;&quot;/&gt;&lt;property id=&quot;20307&quot; value=&quot;293&quot;/&gt;&lt;/object&gt;&lt;object type=&quot;3&quot; unique_id=&quot;22024&quot;&gt;&lt;property id=&quot;20148&quot; value=&quot;5&quot;/&gt;&lt;property id=&quot;20300&quot; value=&quot;Slide 21 - &amp;quot;Example - column diagram (stacked)&amp;quot;&quot;/&gt;&lt;property id=&quot;20307&quot; value=&quot;294&quot;/&gt;&lt;/object&gt;&lt;object type=&quot;3&quot; unique_id=&quot;22025&quot;&gt;&lt;property id=&quot;20148&quot; value=&quot;5&quot;/&gt;&lt;property id=&quot;20300&quot; value=&quot;Slide 22 - &amp;quot;Example - bar diagram&amp;quot;&quot;/&gt;&lt;property id=&quot;20307&quot; value=&quot;295&quot;/&gt;&lt;/object&gt;&lt;object type=&quot;3&quot; unique_id=&quot;22026&quot;&gt;&lt;property id=&quot;20148&quot; value=&quot;5&quot;/&gt;&lt;property id=&quot;20300&quot; value=&quot;Slide 23 - &amp;quot;Example - bar diagram (stacked)&amp;quot;&quot;/&gt;&lt;property id=&quot;20307&quot; value=&quot;296&quot;/&gt;&lt;/object&gt;&lt;object type=&quot;3&quot; unique_id=&quot;22027&quot;&gt;&lt;property id=&quot;20148&quot; value=&quot;5&quot;/&gt;&lt;property id=&quot;20300&quot; value=&quot;Slide 24 - &amp;quot;Example - circle diagrams&amp;quot;&quot;/&gt;&lt;property id=&quot;20307&quot; value=&quot;297&quot;/&gt;&lt;/object&gt;&lt;object type=&quot;3&quot; unique_id=&quot;22028&quot;&gt;&lt;property id=&quot;20148&quot; value=&quot;5&quot;/&gt;&lt;property id=&quot;20300&quot; value=&quot;Slide 25 - &amp;quot;Example - circle diagrams&amp;quot;&quot;/&gt;&lt;property id=&quot;20307&quot; value=&quot;298&quot;/&gt;&lt;/object&gt;&lt;object type=&quot;3&quot; unique_id=&quot;22029&quot;&gt;&lt;property id=&quot;20148&quot; value=&quot;5&quot;/&gt;&lt;property id=&quot;20300&quot; value=&quot;Slide 26 - &amp;quot;Example - pie diagram&amp;quot;&quot;/&gt;&lt;property id=&quot;20307&quot; value=&quot;299&quot;/&gt;&lt;/object&gt;&lt;object type=&quot;3&quot; unique_id=&quot;22030&quot;&gt;&lt;property id=&quot;20148&quot; value=&quot;5&quot;/&gt;&lt;property id=&quot;20300&quot; value=&quot;Slide 27 - &amp;quot;Example - organizational diagram&amp;quot;&quot;/&gt;&lt;property id=&quot;20307&quot; value=&quot;300&quot;/&gt;&lt;/object&gt;&lt;object type=&quot;3&quot; unique_id=&quot;22031&quot;&gt;&lt;property id=&quot;20148&quot; value=&quot;5&quot;/&gt;&lt;property id=&quot;20300&quot; value=&quot;Slide 28 - &amp;quot;Example - organizational diagram&amp;quot;&quot;/&gt;&lt;property id=&quot;20307&quot; value=&quot;301&quot;/&gt;&lt;/object&gt;&lt;object type=&quot;3&quot; unique_id=&quot;22032&quot;&gt;&lt;property id=&quot;20148&quot; value=&quot;5&quot;/&gt;&lt;property id=&quot;20300&quot; value=&quot;Slide 29 - &amp;quot;Example - timeline or flowchart&amp;quot;&quot;/&gt;&lt;property id=&quot;20307&quot; value=&quot;302&quot;/&gt;&lt;/object&gt;&lt;object type=&quot;3&quot; unique_id=&quot;22033&quot;&gt;&lt;property id=&quot;20148&quot; value=&quot;5&quot;/&gt;&lt;property id=&quot;20300&quot; value=&quot;Slide 30 - &amp;quot;Example - 1 picture with text&amp;quot;&quot;/&gt;&lt;property id=&quot;20307&quot; value=&quot;286&quot;/&gt;&lt;/object&gt;&lt;object type=&quot;3&quot; unique_id=&quot;22034&quot;&gt;&lt;property id=&quot;20148&quot; value=&quot;5&quot;/&gt;&lt;property id=&quot;20300&quot; value=&quot;Slide 31 - &amp;quot;Example - 1 picture&amp;quot;&quot;/&gt;&lt;property id=&quot;20307&quot; value=&quot;272&quot;/&gt;&lt;/object&gt;&lt;object type=&quot;3&quot; unique_id=&quot;22035&quot;&gt;&lt;property id=&quot;20148&quot; value=&quot;5&quot;/&gt;&lt;property id=&quot;20300&quot; value=&quot;Slide 32 - &amp;quot;Example - 1 picture on yellow background&amp;quot;&quot;/&gt;&lt;property id=&quot;20307&quot; value=&quot;307&quot;/&gt;&lt;/object&gt;&lt;object type=&quot;3&quot; unique_id=&quot;22036&quot;&gt;&lt;property id=&quot;20148&quot; value=&quot;5&quot;/&gt;&lt;property id=&quot;20300&quot; value=&quot;Slide 33 - &amp;quot;Example - 1 picture on industry &amp;amp; automotive background&amp;quot;&quot;/&gt;&lt;property id=&quot;20307&quot; value=&quot;308&quot;/&gt;&lt;/object&gt;&lt;object type=&quot;3&quot; unique_id=&quot;22037&quot;&gt;&lt;property id=&quot;20148&quot; value=&quot;5&quot;/&gt;&lt;property id=&quot;20300&quot; value=&quot;Slide 34 - &amp;quot;Example - full format picture&amp;quot;&quot;/&gt;&lt;property id=&quot;20307&quot; value=&quot;280&quot;/&gt;&lt;/object&gt;&lt;object type=&quot;3&quot; unique_id=&quot;22038&quot;&gt;&lt;property id=&quot;20148&quot; value=&quot;5&quot;/&gt;&lt;property id=&quot;20300&quot; value=&quot;Slide 35 - &amp;quot;Example - 4 pictures with text&amp;quot;&quot;/&gt;&lt;property id=&quot;20307&quot; value=&quot;285&quot;/&gt;&lt;/object&gt;&lt;object type=&quot;3&quot; unique_id=&quot;22039&quot;&gt;&lt;property id=&quot;20148&quot; value=&quot;5&quot;/&gt;&lt;property id=&quot;20300&quot; value=&quot;Slide 36 - &amp;quot;Example - 2 pictures with text&amp;quot;&quot;/&gt;&lt;property id=&quot;20307&quot; value=&quot;287&quot;/&gt;&lt;/object&gt;&lt;object type=&quot;3&quot; unique_id=&quot;22040&quot;&gt;&lt;property id=&quot;20148&quot; value=&quot;5&quot;/&gt;&lt;property id=&quot;20300&quot; value=&quot;Slide 37 - &amp;quot;Example - 4 pictures&amp;quot;&quot;/&gt;&lt;property id=&quot;20307&quot; value=&quot;288&quot;/&gt;&lt;/object&gt;&lt;object type=&quot;3&quot; unique_id=&quot;22041&quot;&gt;&lt;property id=&quot;20148&quot; value=&quot;5&quot;/&gt;&lt;property id=&quot;20300&quot; value=&quot;Slide 38&quot;/&gt;&lt;property id=&quot;20307&quot; value=&quot;278&quot;/&gt;&lt;/object&gt;&lt;object type=&quot;3&quot; unique_id=&quot;22042&quot;&gt;&lt;property id=&quot;20148&quot; value=&quot;5&quot;/&gt;&lt;property id=&quot;20300&quot; value=&quot;Slide 39&quot;/&gt;&lt;property id=&quot;20307&quot; value=&quot;309&quot;/&gt;&lt;/object&gt;&lt;/object&gt;&lt;object type=&quot;8&quot; unique_id=&quot;22083&quot;&gt;&lt;/object&gt;&lt;/object&gt;&lt;/database&gt;"/>
  <p:tag name="SECTOMILLISECCONVERTED" val="1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4193w32QWcpXbOL4JPAA"/>
</p:tagLst>
</file>

<file path=ppt/theme/theme1.xml><?xml version="1.0" encoding="utf-8"?>
<a:theme xmlns:a="http://schemas.openxmlformats.org/drawingml/2006/main" name="Sika PowerPoint Template 16.9 0614">
  <a:themeElements>
    <a:clrScheme name="Sika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F5B325"/>
      </a:accent1>
      <a:accent2>
        <a:srgbClr val="C0C5CC"/>
      </a:accent2>
      <a:accent3>
        <a:srgbClr val="7C7C7C"/>
      </a:accent3>
      <a:accent4>
        <a:srgbClr val="4B4B4B"/>
      </a:accent4>
      <a:accent5>
        <a:srgbClr val="50758D"/>
      </a:accent5>
      <a:accent6>
        <a:srgbClr val="468283"/>
      </a:accent6>
      <a:hlink>
        <a:srgbClr val="000000"/>
      </a:hlink>
      <a:folHlink>
        <a:srgbClr val="0000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85750" indent="-285750" algn="l">
          <a:buClr>
            <a:schemeClr val="accent1"/>
          </a:buClr>
          <a:buFont typeface="Wingdings" panose="05000000000000000000" pitchFamily="2" charset="2"/>
          <a:buChar char="§"/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ika Powerpoint Template.potx" id="{5B1B824C-E867-4AF7-99BD-F6038748ECB4}" vid="{5F3F09C4-FA1D-4261-BB17-3D3238457305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18461ba-9212-4fd6-9292-53d75bec027b">
      <Terms xmlns="http://schemas.microsoft.com/office/infopath/2007/PartnerControls"/>
    </lcf76f155ced4ddcb4097134ff3c332f>
    <TaxCatchAll xmlns="6b2842d7-2c11-4649-9224-3f06aacd2a6e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46B0364C6707847913B4CB678D3A6FA" ma:contentTypeVersion="10" ma:contentTypeDescription="Create a new document." ma:contentTypeScope="" ma:versionID="53bf3dded6ff0c02aa585059f109b0e2">
  <xsd:schema xmlns:xsd="http://www.w3.org/2001/XMLSchema" xmlns:xs="http://www.w3.org/2001/XMLSchema" xmlns:p="http://schemas.microsoft.com/office/2006/metadata/properties" xmlns:ns2="218461ba-9212-4fd6-9292-53d75bec027b" xmlns:ns3="6b2842d7-2c11-4649-9224-3f06aacd2a6e" targetNamespace="http://schemas.microsoft.com/office/2006/metadata/properties" ma:root="true" ma:fieldsID="255b43c3fbb0503bdd40730785d6db2e" ns2:_="" ns3:_="">
    <xsd:import namespace="218461ba-9212-4fd6-9292-53d75bec027b"/>
    <xsd:import namespace="6b2842d7-2c11-4649-9224-3f06aacd2a6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8461ba-9212-4fd6-9292-53d75bec027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a3faffa6-f046-41e0-b0b2-30891ad695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2842d7-2c11-4649-9224-3f06aacd2a6e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2c076eda-9da5-44ae-8c84-f376a3b500ee}" ma:internalName="TaxCatchAll" ma:showField="CatchAllData" ma:web="6b2842d7-2c11-4649-9224-3f06aacd2a6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01ABBF6-6BB6-487E-867C-862C720BD26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19294BE-8A62-4DAB-88E8-57A4929F4EE5}">
  <ds:schemaRefs>
    <ds:schemaRef ds:uri="6b2842d7-2c11-4649-9224-3f06aacd2a6e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schemas.openxmlformats.org/package/2006/metadata/core-properties"/>
    <ds:schemaRef ds:uri="218461ba-9212-4fd6-9292-53d75bec027b"/>
    <ds:schemaRef ds:uri="http://schemas.microsoft.com/office/2006/metadata/properties"/>
    <ds:schemaRef ds:uri="http://purl.org/dc/dcmitype/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38FEAF15-633F-4137-BEC2-8EBFE2E169C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18461ba-9212-4fd6-9292-53d75bec027b"/>
    <ds:schemaRef ds:uri="6b2842d7-2c11-4649-9224-3f06aacd2a6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ka Powerpoint Template</Template>
  <TotalTime>704</TotalTime>
  <Words>1168</Words>
  <Application>Microsoft Office PowerPoint</Application>
  <PresentationFormat>Presentación en pantalla (16:9)</PresentationFormat>
  <Paragraphs>127</Paragraphs>
  <Slides>9</Slides>
  <Notes>7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9</vt:i4>
      </vt:variant>
    </vt:vector>
  </HeadingPairs>
  <TitlesOfParts>
    <vt:vector size="16" baseType="lpstr">
      <vt:lpstr>ＭＳ Ｐゴシック</vt:lpstr>
      <vt:lpstr>Arial</vt:lpstr>
      <vt:lpstr>Calibri</vt:lpstr>
      <vt:lpstr>Klavika Light</vt:lpstr>
      <vt:lpstr>Wingdings</vt:lpstr>
      <vt:lpstr>Sika PowerPoint Template 16.9 0614</vt:lpstr>
      <vt:lpstr>think-cell Slide</vt:lpstr>
      <vt:lpstr>Presentación de PowerPoint</vt:lpstr>
      <vt:lpstr>ÍNDICE</vt:lpstr>
      <vt:lpstr>Catálogo objetos bim sika s.a.u. españa</vt:lpstr>
      <vt:lpstr>Catálogo objetos bim sika s.a.u. españa</vt:lpstr>
      <vt:lpstr>Catálogo objetos bim sika s.a.u. españa</vt:lpstr>
      <vt:lpstr>Catálogo objetos bim sika s.a.u. españa</vt:lpstr>
      <vt:lpstr>Catálogo objetos bim sika s.a.u. españa</vt:lpstr>
      <vt:lpstr>Catálogo objetos bim sika s.a.u. españa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lexander Aeschbach</dc:creator>
  <cp:lastModifiedBy>Mauricio Pena</cp:lastModifiedBy>
  <cp:revision>14</cp:revision>
  <dcterms:created xsi:type="dcterms:W3CDTF">2023-02-09T09:38:26Z</dcterms:created>
  <dcterms:modified xsi:type="dcterms:W3CDTF">2024-03-04T10:31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46B0364C6707847913B4CB678D3A6FA</vt:lpwstr>
  </property>
  <property fmtid="{D5CDD505-2E9C-101B-9397-08002B2CF9AE}" pid="3" name="MediaServiceImageTags">
    <vt:lpwstr/>
  </property>
</Properties>
</file>